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87" r:id="rId2"/>
    <p:sldId id="291" r:id="rId3"/>
    <p:sldId id="300" r:id="rId4"/>
    <p:sldId id="301" r:id="rId5"/>
    <p:sldId id="302" r:id="rId6"/>
    <p:sldId id="288" r:id="rId7"/>
    <p:sldId id="294" r:id="rId8"/>
    <p:sldId id="295" r:id="rId9"/>
    <p:sldId id="293" r:id="rId10"/>
    <p:sldId id="296" r:id="rId11"/>
    <p:sldId id="297" r:id="rId12"/>
    <p:sldId id="298" r:id="rId13"/>
    <p:sldId id="299" r:id="rId14"/>
  </p:sldIdLst>
  <p:sldSz cx="9144000" cy="6858000" type="screen4x3"/>
  <p:notesSz cx="6858000" cy="9144000"/>
  <p:embeddedFontLst>
    <p:embeddedFont>
      <p:font typeface="Sweco Sans" panose="00000500000000000000" charset="0"/>
      <p:regular r:id="rId17"/>
      <p:bold r:id="rId18"/>
      <p:italic r:id="rId19"/>
      <p:boldItalic r:id="rId20"/>
    </p:embeddedFont>
    <p:embeddedFont>
      <p:font typeface="Sweco Sans Medium" panose="00000600000000000000" charset="0"/>
      <p:regular r:id="rId21"/>
      <p:italic r:id="rId22"/>
    </p:embeddedFont>
  </p:embeddedFontLst>
  <p:custDataLst>
    <p:tags r:id="rId2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2" pos="380" userDrawn="1">
          <p15:clr>
            <a:srgbClr val="A4A3A4"/>
          </p15:clr>
        </p15:guide>
        <p15:guide id="3" pos="5624" userDrawn="1">
          <p15:clr>
            <a:srgbClr val="A4A3A4"/>
          </p15:clr>
        </p15:guide>
        <p15:guide id="4" orient="horz" pos="1003" userDrawn="1">
          <p15:clr>
            <a:srgbClr val="A4A3A4"/>
          </p15:clr>
        </p15:guide>
        <p15:guide id="5" orient="horz" pos="1321" userDrawn="1">
          <p15:clr>
            <a:srgbClr val="A4A3A4"/>
          </p15:clr>
        </p15:guide>
        <p15:guide id="6" orient="horz" pos="396" userDrawn="1">
          <p15:clr>
            <a:srgbClr val="A4A3A4"/>
          </p15:clr>
        </p15:guide>
        <p15:guide id="7" orient="horz" pos="164" userDrawn="1">
          <p15:clr>
            <a:srgbClr val="A4A3A4"/>
          </p15:clr>
        </p15:guide>
        <p15:guide id="8" pos="5054" userDrawn="1">
          <p15:clr>
            <a:srgbClr val="A4A3A4"/>
          </p15:clr>
        </p15:guide>
        <p15:guide id="9" orient="horz" pos="4156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4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8593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just format 2 - Dekorfär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79" autoAdjust="0"/>
    <p:restoredTop sz="94660"/>
  </p:normalViewPr>
  <p:slideViewPr>
    <p:cSldViewPr snapToGrid="0" showGuides="1">
      <p:cViewPr>
        <p:scale>
          <a:sx n="80" d="100"/>
          <a:sy n="80" d="100"/>
        </p:scale>
        <p:origin x="1008" y="60"/>
      </p:cViewPr>
      <p:guideLst>
        <p:guide orient="horz" pos="4020"/>
        <p:guide pos="380"/>
        <p:guide pos="5624"/>
        <p:guide orient="horz" pos="1003"/>
        <p:guide orient="horz" pos="1321"/>
        <p:guide orient="horz" pos="396"/>
        <p:guide orient="horz" pos="164"/>
        <p:guide pos="5054"/>
        <p:guide orient="horz" pos="4156"/>
        <p:guide orient="horz" pos="2160"/>
        <p:guide orient="horz" pos="420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318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endam\AppData\Local\Microsoft\Windows\Temporary%20Internet%20Files\Content.Outlook\329I8GSO\NordPool%20and%20Phelix_CH_16020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endam\AppData\Local\Microsoft\Windows\Temporary%20Internet%20Files\Content.Outlook\329I8GSO\NordPool%20and%20Phelix_CH_16020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754586429225452"/>
          <c:y val="7.9065985583131312E-2"/>
          <c:w val="0.71626411796953771"/>
          <c:h val="0.43564318164481458"/>
        </c:manualLayout>
      </c:layout>
      <c:lineChart>
        <c:grouping val="standard"/>
        <c:varyColors val="0"/>
        <c:ser>
          <c:idx val="0"/>
          <c:order val="0"/>
          <c:tx>
            <c:strRef>
              <c:f>Daily!$A$2</c:f>
              <c:strCache>
                <c:ptCount val="1"/>
                <c:pt idx="0">
                  <c:v>Nord Pool</c:v>
                </c:pt>
              </c:strCache>
            </c:strRef>
          </c:tx>
          <c:spPr>
            <a:ln w="3175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trendline>
            <c:spPr>
              <a:ln w="25400" cap="rnd" cmpd="sng" algn="ctr">
                <a:solidFill>
                  <a:srgbClr val="0070C0"/>
                </a:solidFill>
                <a:prstDash val="solid"/>
                <a:round/>
              </a:ln>
              <a:effectLst/>
            </c:spPr>
            <c:trendlineType val="movingAvg"/>
            <c:period val="30"/>
            <c:dispRSqr val="0"/>
            <c:dispEq val="0"/>
          </c:trendline>
          <c:cat>
            <c:numRef>
              <c:f>Daily!$B$1:$DIS$1</c:f>
              <c:numCache>
                <c:formatCode>dd/mm/yy;@</c:formatCode>
                <c:ptCount val="2956"/>
                <c:pt idx="0">
                  <c:v>39448</c:v>
                </c:pt>
                <c:pt idx="1">
                  <c:v>39449</c:v>
                </c:pt>
                <c:pt idx="2">
                  <c:v>39450</c:v>
                </c:pt>
                <c:pt idx="3">
                  <c:v>39451</c:v>
                </c:pt>
                <c:pt idx="4">
                  <c:v>39452</c:v>
                </c:pt>
                <c:pt idx="5">
                  <c:v>39453</c:v>
                </c:pt>
                <c:pt idx="6">
                  <c:v>39454</c:v>
                </c:pt>
                <c:pt idx="7">
                  <c:v>39455</c:v>
                </c:pt>
                <c:pt idx="8">
                  <c:v>39456</c:v>
                </c:pt>
                <c:pt idx="9">
                  <c:v>39457</c:v>
                </c:pt>
                <c:pt idx="10">
                  <c:v>39458</c:v>
                </c:pt>
                <c:pt idx="11">
                  <c:v>39459</c:v>
                </c:pt>
                <c:pt idx="12">
                  <c:v>39460</c:v>
                </c:pt>
                <c:pt idx="13">
                  <c:v>39461</c:v>
                </c:pt>
                <c:pt idx="14">
                  <c:v>39462</c:v>
                </c:pt>
                <c:pt idx="15">
                  <c:v>39463</c:v>
                </c:pt>
                <c:pt idx="16">
                  <c:v>39464</c:v>
                </c:pt>
                <c:pt idx="17">
                  <c:v>39465</c:v>
                </c:pt>
                <c:pt idx="18">
                  <c:v>39466</c:v>
                </c:pt>
                <c:pt idx="19">
                  <c:v>39467</c:v>
                </c:pt>
                <c:pt idx="20">
                  <c:v>39468</c:v>
                </c:pt>
                <c:pt idx="21">
                  <c:v>39469</c:v>
                </c:pt>
                <c:pt idx="22">
                  <c:v>39470</c:v>
                </c:pt>
                <c:pt idx="23">
                  <c:v>39471</c:v>
                </c:pt>
                <c:pt idx="24">
                  <c:v>39472</c:v>
                </c:pt>
                <c:pt idx="25">
                  <c:v>39473</c:v>
                </c:pt>
                <c:pt idx="26">
                  <c:v>39474</c:v>
                </c:pt>
                <c:pt idx="27">
                  <c:v>39475</c:v>
                </c:pt>
                <c:pt idx="28">
                  <c:v>39476</c:v>
                </c:pt>
                <c:pt idx="29">
                  <c:v>39477</c:v>
                </c:pt>
                <c:pt idx="30">
                  <c:v>39478</c:v>
                </c:pt>
                <c:pt idx="31">
                  <c:v>39479</c:v>
                </c:pt>
                <c:pt idx="32">
                  <c:v>39480</c:v>
                </c:pt>
                <c:pt idx="33">
                  <c:v>39481</c:v>
                </c:pt>
                <c:pt idx="34">
                  <c:v>39482</c:v>
                </c:pt>
                <c:pt idx="35">
                  <c:v>39483</c:v>
                </c:pt>
                <c:pt idx="36">
                  <c:v>39484</c:v>
                </c:pt>
                <c:pt idx="37">
                  <c:v>39485</c:v>
                </c:pt>
                <c:pt idx="38">
                  <c:v>39486</c:v>
                </c:pt>
                <c:pt idx="39">
                  <c:v>39487</c:v>
                </c:pt>
                <c:pt idx="40">
                  <c:v>39488</c:v>
                </c:pt>
                <c:pt idx="41">
                  <c:v>39489</c:v>
                </c:pt>
                <c:pt idx="42">
                  <c:v>39490</c:v>
                </c:pt>
                <c:pt idx="43">
                  <c:v>39491</c:v>
                </c:pt>
                <c:pt idx="44">
                  <c:v>39492</c:v>
                </c:pt>
                <c:pt idx="45">
                  <c:v>39493</c:v>
                </c:pt>
                <c:pt idx="46">
                  <c:v>39494</c:v>
                </c:pt>
                <c:pt idx="47">
                  <c:v>39495</c:v>
                </c:pt>
                <c:pt idx="48">
                  <c:v>39496</c:v>
                </c:pt>
                <c:pt idx="49">
                  <c:v>39497</c:v>
                </c:pt>
                <c:pt idx="50">
                  <c:v>39498</c:v>
                </c:pt>
                <c:pt idx="51">
                  <c:v>39499</c:v>
                </c:pt>
                <c:pt idx="52">
                  <c:v>39500</c:v>
                </c:pt>
                <c:pt idx="53">
                  <c:v>39501</c:v>
                </c:pt>
                <c:pt idx="54">
                  <c:v>39502</c:v>
                </c:pt>
                <c:pt idx="55">
                  <c:v>39503</c:v>
                </c:pt>
                <c:pt idx="56">
                  <c:v>39504</c:v>
                </c:pt>
                <c:pt idx="57">
                  <c:v>39505</c:v>
                </c:pt>
                <c:pt idx="58">
                  <c:v>39506</c:v>
                </c:pt>
                <c:pt idx="59">
                  <c:v>39507</c:v>
                </c:pt>
                <c:pt idx="60">
                  <c:v>39508</c:v>
                </c:pt>
                <c:pt idx="61">
                  <c:v>39509</c:v>
                </c:pt>
                <c:pt idx="62">
                  <c:v>39510</c:v>
                </c:pt>
                <c:pt idx="63">
                  <c:v>39511</c:v>
                </c:pt>
                <c:pt idx="64">
                  <c:v>39512</c:v>
                </c:pt>
                <c:pt idx="65">
                  <c:v>39513</c:v>
                </c:pt>
                <c:pt idx="66">
                  <c:v>39514</c:v>
                </c:pt>
                <c:pt idx="67">
                  <c:v>39515</c:v>
                </c:pt>
                <c:pt idx="68">
                  <c:v>39516</c:v>
                </c:pt>
                <c:pt idx="69">
                  <c:v>39517</c:v>
                </c:pt>
                <c:pt idx="70">
                  <c:v>39518</c:v>
                </c:pt>
                <c:pt idx="71">
                  <c:v>39519</c:v>
                </c:pt>
                <c:pt idx="72">
                  <c:v>39520</c:v>
                </c:pt>
                <c:pt idx="73">
                  <c:v>39521</c:v>
                </c:pt>
                <c:pt idx="74">
                  <c:v>39522</c:v>
                </c:pt>
                <c:pt idx="75">
                  <c:v>39523</c:v>
                </c:pt>
                <c:pt idx="76">
                  <c:v>39524</c:v>
                </c:pt>
                <c:pt idx="77">
                  <c:v>39525</c:v>
                </c:pt>
                <c:pt idx="78">
                  <c:v>39526</c:v>
                </c:pt>
                <c:pt idx="79">
                  <c:v>39527</c:v>
                </c:pt>
                <c:pt idx="80">
                  <c:v>39528</c:v>
                </c:pt>
                <c:pt idx="81">
                  <c:v>39529</c:v>
                </c:pt>
                <c:pt idx="82">
                  <c:v>39530</c:v>
                </c:pt>
                <c:pt idx="83">
                  <c:v>39531</c:v>
                </c:pt>
                <c:pt idx="84">
                  <c:v>39532</c:v>
                </c:pt>
                <c:pt idx="85">
                  <c:v>39533</c:v>
                </c:pt>
                <c:pt idx="86">
                  <c:v>39534</c:v>
                </c:pt>
                <c:pt idx="87">
                  <c:v>39535</c:v>
                </c:pt>
                <c:pt idx="88">
                  <c:v>39536</c:v>
                </c:pt>
                <c:pt idx="89">
                  <c:v>39537</c:v>
                </c:pt>
                <c:pt idx="90">
                  <c:v>39538</c:v>
                </c:pt>
                <c:pt idx="91">
                  <c:v>39539</c:v>
                </c:pt>
                <c:pt idx="92">
                  <c:v>39540</c:v>
                </c:pt>
                <c:pt idx="93">
                  <c:v>39541</c:v>
                </c:pt>
                <c:pt idx="94">
                  <c:v>39542</c:v>
                </c:pt>
                <c:pt idx="95">
                  <c:v>39543</c:v>
                </c:pt>
                <c:pt idx="96">
                  <c:v>39544</c:v>
                </c:pt>
                <c:pt idx="97">
                  <c:v>39545</c:v>
                </c:pt>
                <c:pt idx="98">
                  <c:v>39546</c:v>
                </c:pt>
                <c:pt idx="99">
                  <c:v>39547</c:v>
                </c:pt>
                <c:pt idx="100">
                  <c:v>39548</c:v>
                </c:pt>
                <c:pt idx="101">
                  <c:v>39549</c:v>
                </c:pt>
                <c:pt idx="102">
                  <c:v>39550</c:v>
                </c:pt>
                <c:pt idx="103">
                  <c:v>39551</c:v>
                </c:pt>
                <c:pt idx="104">
                  <c:v>39552</c:v>
                </c:pt>
                <c:pt idx="105">
                  <c:v>39553</c:v>
                </c:pt>
                <c:pt idx="106">
                  <c:v>39554</c:v>
                </c:pt>
                <c:pt idx="107">
                  <c:v>39555</c:v>
                </c:pt>
                <c:pt idx="108">
                  <c:v>39556</c:v>
                </c:pt>
                <c:pt idx="109">
                  <c:v>39557</c:v>
                </c:pt>
                <c:pt idx="110">
                  <c:v>39558</c:v>
                </c:pt>
                <c:pt idx="111">
                  <c:v>39559</c:v>
                </c:pt>
                <c:pt idx="112">
                  <c:v>39560</c:v>
                </c:pt>
                <c:pt idx="113">
                  <c:v>39561</c:v>
                </c:pt>
                <c:pt idx="114">
                  <c:v>39562</c:v>
                </c:pt>
                <c:pt idx="115">
                  <c:v>39563</c:v>
                </c:pt>
                <c:pt idx="116">
                  <c:v>39564</c:v>
                </c:pt>
                <c:pt idx="117">
                  <c:v>39565</c:v>
                </c:pt>
                <c:pt idx="118">
                  <c:v>39566</c:v>
                </c:pt>
                <c:pt idx="119">
                  <c:v>39567</c:v>
                </c:pt>
                <c:pt idx="120">
                  <c:v>39568</c:v>
                </c:pt>
                <c:pt idx="121">
                  <c:v>39569</c:v>
                </c:pt>
                <c:pt idx="122">
                  <c:v>39570</c:v>
                </c:pt>
                <c:pt idx="123">
                  <c:v>39571</c:v>
                </c:pt>
                <c:pt idx="124">
                  <c:v>39572</c:v>
                </c:pt>
                <c:pt idx="125">
                  <c:v>39573</c:v>
                </c:pt>
                <c:pt idx="126">
                  <c:v>39574</c:v>
                </c:pt>
                <c:pt idx="127">
                  <c:v>39575</c:v>
                </c:pt>
                <c:pt idx="128">
                  <c:v>39576</c:v>
                </c:pt>
                <c:pt idx="129">
                  <c:v>39577</c:v>
                </c:pt>
                <c:pt idx="130">
                  <c:v>39578</c:v>
                </c:pt>
                <c:pt idx="131">
                  <c:v>39579</c:v>
                </c:pt>
                <c:pt idx="132">
                  <c:v>39580</c:v>
                </c:pt>
                <c:pt idx="133">
                  <c:v>39581</c:v>
                </c:pt>
                <c:pt idx="134">
                  <c:v>39582</c:v>
                </c:pt>
                <c:pt idx="135">
                  <c:v>39583</c:v>
                </c:pt>
                <c:pt idx="136">
                  <c:v>39584</c:v>
                </c:pt>
                <c:pt idx="137">
                  <c:v>39585</c:v>
                </c:pt>
                <c:pt idx="138">
                  <c:v>39586</c:v>
                </c:pt>
                <c:pt idx="139">
                  <c:v>39587</c:v>
                </c:pt>
                <c:pt idx="140">
                  <c:v>39588</c:v>
                </c:pt>
                <c:pt idx="141">
                  <c:v>39589</c:v>
                </c:pt>
                <c:pt idx="142">
                  <c:v>39590</c:v>
                </c:pt>
                <c:pt idx="143">
                  <c:v>39591</c:v>
                </c:pt>
                <c:pt idx="144">
                  <c:v>39592</c:v>
                </c:pt>
                <c:pt idx="145">
                  <c:v>39593</c:v>
                </c:pt>
                <c:pt idx="146">
                  <c:v>39594</c:v>
                </c:pt>
                <c:pt idx="147">
                  <c:v>39595</c:v>
                </c:pt>
                <c:pt idx="148">
                  <c:v>39596</c:v>
                </c:pt>
                <c:pt idx="149">
                  <c:v>39597</c:v>
                </c:pt>
                <c:pt idx="150">
                  <c:v>39598</c:v>
                </c:pt>
                <c:pt idx="151">
                  <c:v>39599</c:v>
                </c:pt>
                <c:pt idx="152">
                  <c:v>39600</c:v>
                </c:pt>
                <c:pt idx="153">
                  <c:v>39601</c:v>
                </c:pt>
                <c:pt idx="154">
                  <c:v>39602</c:v>
                </c:pt>
                <c:pt idx="155">
                  <c:v>39603</c:v>
                </c:pt>
                <c:pt idx="156">
                  <c:v>39604</c:v>
                </c:pt>
                <c:pt idx="157">
                  <c:v>39605</c:v>
                </c:pt>
                <c:pt idx="158">
                  <c:v>39606</c:v>
                </c:pt>
                <c:pt idx="159">
                  <c:v>39607</c:v>
                </c:pt>
                <c:pt idx="160">
                  <c:v>39608</c:v>
                </c:pt>
                <c:pt idx="161">
                  <c:v>39609</c:v>
                </c:pt>
                <c:pt idx="162">
                  <c:v>39610</c:v>
                </c:pt>
                <c:pt idx="163">
                  <c:v>39611</c:v>
                </c:pt>
                <c:pt idx="164">
                  <c:v>39612</c:v>
                </c:pt>
                <c:pt idx="165">
                  <c:v>39613</c:v>
                </c:pt>
                <c:pt idx="166">
                  <c:v>39614</c:v>
                </c:pt>
                <c:pt idx="167">
                  <c:v>39615</c:v>
                </c:pt>
                <c:pt idx="168">
                  <c:v>39616</c:v>
                </c:pt>
                <c:pt idx="169">
                  <c:v>39617</c:v>
                </c:pt>
                <c:pt idx="170">
                  <c:v>39618</c:v>
                </c:pt>
                <c:pt idx="171">
                  <c:v>39619</c:v>
                </c:pt>
                <c:pt idx="172">
                  <c:v>39620</c:v>
                </c:pt>
                <c:pt idx="173">
                  <c:v>39621</c:v>
                </c:pt>
                <c:pt idx="174">
                  <c:v>39622</c:v>
                </c:pt>
                <c:pt idx="175">
                  <c:v>39623</c:v>
                </c:pt>
                <c:pt idx="176">
                  <c:v>39624</c:v>
                </c:pt>
                <c:pt idx="177">
                  <c:v>39625</c:v>
                </c:pt>
                <c:pt idx="178">
                  <c:v>39626</c:v>
                </c:pt>
                <c:pt idx="179">
                  <c:v>39627</c:v>
                </c:pt>
                <c:pt idx="180">
                  <c:v>39628</c:v>
                </c:pt>
                <c:pt idx="181">
                  <c:v>39629</c:v>
                </c:pt>
                <c:pt idx="182">
                  <c:v>39630</c:v>
                </c:pt>
                <c:pt idx="183">
                  <c:v>39631</c:v>
                </c:pt>
                <c:pt idx="184">
                  <c:v>39632</c:v>
                </c:pt>
                <c:pt idx="185">
                  <c:v>39633</c:v>
                </c:pt>
                <c:pt idx="186">
                  <c:v>39634</c:v>
                </c:pt>
                <c:pt idx="187">
                  <c:v>39635</c:v>
                </c:pt>
                <c:pt idx="188">
                  <c:v>39636</c:v>
                </c:pt>
                <c:pt idx="189">
                  <c:v>39637</c:v>
                </c:pt>
                <c:pt idx="190">
                  <c:v>39638</c:v>
                </c:pt>
                <c:pt idx="191">
                  <c:v>39639</c:v>
                </c:pt>
                <c:pt idx="192">
                  <c:v>39640</c:v>
                </c:pt>
                <c:pt idx="193">
                  <c:v>39641</c:v>
                </c:pt>
                <c:pt idx="194">
                  <c:v>39642</c:v>
                </c:pt>
                <c:pt idx="195">
                  <c:v>39643</c:v>
                </c:pt>
                <c:pt idx="196">
                  <c:v>39644</c:v>
                </c:pt>
                <c:pt idx="197">
                  <c:v>39645</c:v>
                </c:pt>
                <c:pt idx="198">
                  <c:v>39646</c:v>
                </c:pt>
                <c:pt idx="199">
                  <c:v>39647</c:v>
                </c:pt>
                <c:pt idx="200">
                  <c:v>39648</c:v>
                </c:pt>
                <c:pt idx="201">
                  <c:v>39649</c:v>
                </c:pt>
                <c:pt idx="202">
                  <c:v>39650</c:v>
                </c:pt>
                <c:pt idx="203">
                  <c:v>39651</c:v>
                </c:pt>
                <c:pt idx="204">
                  <c:v>39652</c:v>
                </c:pt>
                <c:pt idx="205">
                  <c:v>39653</c:v>
                </c:pt>
                <c:pt idx="206">
                  <c:v>39654</c:v>
                </c:pt>
                <c:pt idx="207">
                  <c:v>39655</c:v>
                </c:pt>
                <c:pt idx="208">
                  <c:v>39656</c:v>
                </c:pt>
                <c:pt idx="209">
                  <c:v>39657</c:v>
                </c:pt>
                <c:pt idx="210">
                  <c:v>39658</c:v>
                </c:pt>
                <c:pt idx="211">
                  <c:v>39659</c:v>
                </c:pt>
                <c:pt idx="212">
                  <c:v>39660</c:v>
                </c:pt>
                <c:pt idx="213">
                  <c:v>39661</c:v>
                </c:pt>
                <c:pt idx="214">
                  <c:v>39662</c:v>
                </c:pt>
                <c:pt idx="215">
                  <c:v>39663</c:v>
                </c:pt>
                <c:pt idx="216">
                  <c:v>39664</c:v>
                </c:pt>
                <c:pt idx="217">
                  <c:v>39665</c:v>
                </c:pt>
                <c:pt idx="218">
                  <c:v>39666</c:v>
                </c:pt>
                <c:pt idx="219">
                  <c:v>39667</c:v>
                </c:pt>
                <c:pt idx="220">
                  <c:v>39668</c:v>
                </c:pt>
                <c:pt idx="221">
                  <c:v>39669</c:v>
                </c:pt>
                <c:pt idx="222">
                  <c:v>39670</c:v>
                </c:pt>
                <c:pt idx="223">
                  <c:v>39671</c:v>
                </c:pt>
                <c:pt idx="224">
                  <c:v>39672</c:v>
                </c:pt>
                <c:pt idx="225">
                  <c:v>39673</c:v>
                </c:pt>
                <c:pt idx="226">
                  <c:v>39674</c:v>
                </c:pt>
                <c:pt idx="227">
                  <c:v>39675</c:v>
                </c:pt>
                <c:pt idx="228">
                  <c:v>39676</c:v>
                </c:pt>
                <c:pt idx="229">
                  <c:v>39677</c:v>
                </c:pt>
                <c:pt idx="230">
                  <c:v>39678</c:v>
                </c:pt>
                <c:pt idx="231">
                  <c:v>39679</c:v>
                </c:pt>
                <c:pt idx="232">
                  <c:v>39680</c:v>
                </c:pt>
                <c:pt idx="233">
                  <c:v>39681</c:v>
                </c:pt>
                <c:pt idx="234">
                  <c:v>39682</c:v>
                </c:pt>
                <c:pt idx="235">
                  <c:v>39683</c:v>
                </c:pt>
                <c:pt idx="236">
                  <c:v>39684</c:v>
                </c:pt>
                <c:pt idx="237">
                  <c:v>39685</c:v>
                </c:pt>
                <c:pt idx="238">
                  <c:v>39686</c:v>
                </c:pt>
                <c:pt idx="239">
                  <c:v>39687</c:v>
                </c:pt>
                <c:pt idx="240">
                  <c:v>39688</c:v>
                </c:pt>
                <c:pt idx="241">
                  <c:v>39689</c:v>
                </c:pt>
                <c:pt idx="242">
                  <c:v>39690</c:v>
                </c:pt>
                <c:pt idx="243">
                  <c:v>39691</c:v>
                </c:pt>
                <c:pt idx="244">
                  <c:v>39692</c:v>
                </c:pt>
                <c:pt idx="245">
                  <c:v>39693</c:v>
                </c:pt>
                <c:pt idx="246">
                  <c:v>39694</c:v>
                </c:pt>
                <c:pt idx="247">
                  <c:v>39695</c:v>
                </c:pt>
                <c:pt idx="248">
                  <c:v>39696</c:v>
                </c:pt>
                <c:pt idx="249">
                  <c:v>39697</c:v>
                </c:pt>
                <c:pt idx="250">
                  <c:v>39698</c:v>
                </c:pt>
                <c:pt idx="251">
                  <c:v>39699</c:v>
                </c:pt>
                <c:pt idx="252">
                  <c:v>39700</c:v>
                </c:pt>
                <c:pt idx="253">
                  <c:v>39701</c:v>
                </c:pt>
                <c:pt idx="254">
                  <c:v>39702</c:v>
                </c:pt>
                <c:pt idx="255">
                  <c:v>39703</c:v>
                </c:pt>
                <c:pt idx="256">
                  <c:v>39704</c:v>
                </c:pt>
                <c:pt idx="257">
                  <c:v>39705</c:v>
                </c:pt>
                <c:pt idx="258">
                  <c:v>39706</c:v>
                </c:pt>
                <c:pt idx="259">
                  <c:v>39707</c:v>
                </c:pt>
                <c:pt idx="260">
                  <c:v>39708</c:v>
                </c:pt>
                <c:pt idx="261">
                  <c:v>39709</c:v>
                </c:pt>
                <c:pt idx="262">
                  <c:v>39710</c:v>
                </c:pt>
                <c:pt idx="263">
                  <c:v>39711</c:v>
                </c:pt>
                <c:pt idx="264">
                  <c:v>39712</c:v>
                </c:pt>
                <c:pt idx="265">
                  <c:v>39713</c:v>
                </c:pt>
                <c:pt idx="266">
                  <c:v>39714</c:v>
                </c:pt>
                <c:pt idx="267">
                  <c:v>39715</c:v>
                </c:pt>
                <c:pt idx="268">
                  <c:v>39716</c:v>
                </c:pt>
                <c:pt idx="269">
                  <c:v>39717</c:v>
                </c:pt>
                <c:pt idx="270">
                  <c:v>39718</c:v>
                </c:pt>
                <c:pt idx="271">
                  <c:v>39719</c:v>
                </c:pt>
                <c:pt idx="272">
                  <c:v>39720</c:v>
                </c:pt>
                <c:pt idx="273">
                  <c:v>39721</c:v>
                </c:pt>
                <c:pt idx="274">
                  <c:v>39722</c:v>
                </c:pt>
                <c:pt idx="275">
                  <c:v>39723</c:v>
                </c:pt>
                <c:pt idx="276">
                  <c:v>39724</c:v>
                </c:pt>
                <c:pt idx="277">
                  <c:v>39725</c:v>
                </c:pt>
                <c:pt idx="278">
                  <c:v>39726</c:v>
                </c:pt>
                <c:pt idx="279">
                  <c:v>39727</c:v>
                </c:pt>
                <c:pt idx="280">
                  <c:v>39728</c:v>
                </c:pt>
                <c:pt idx="281">
                  <c:v>39729</c:v>
                </c:pt>
                <c:pt idx="282">
                  <c:v>39730</c:v>
                </c:pt>
                <c:pt idx="283">
                  <c:v>39731</c:v>
                </c:pt>
                <c:pt idx="284">
                  <c:v>39732</c:v>
                </c:pt>
                <c:pt idx="285">
                  <c:v>39733</c:v>
                </c:pt>
                <c:pt idx="286">
                  <c:v>39734</c:v>
                </c:pt>
                <c:pt idx="287">
                  <c:v>39735</c:v>
                </c:pt>
                <c:pt idx="288">
                  <c:v>39736</c:v>
                </c:pt>
                <c:pt idx="289">
                  <c:v>39737</c:v>
                </c:pt>
                <c:pt idx="290">
                  <c:v>39738</c:v>
                </c:pt>
                <c:pt idx="291">
                  <c:v>39739</c:v>
                </c:pt>
                <c:pt idx="292">
                  <c:v>39740</c:v>
                </c:pt>
                <c:pt idx="293">
                  <c:v>39741</c:v>
                </c:pt>
                <c:pt idx="294">
                  <c:v>39742</c:v>
                </c:pt>
                <c:pt idx="295">
                  <c:v>39743</c:v>
                </c:pt>
                <c:pt idx="296">
                  <c:v>39744</c:v>
                </c:pt>
                <c:pt idx="297">
                  <c:v>39745</c:v>
                </c:pt>
                <c:pt idx="298">
                  <c:v>39746</c:v>
                </c:pt>
                <c:pt idx="299">
                  <c:v>39747</c:v>
                </c:pt>
                <c:pt idx="300">
                  <c:v>39748</c:v>
                </c:pt>
                <c:pt idx="301">
                  <c:v>39749</c:v>
                </c:pt>
                <c:pt idx="302">
                  <c:v>39750</c:v>
                </c:pt>
                <c:pt idx="303">
                  <c:v>39751</c:v>
                </c:pt>
                <c:pt idx="304">
                  <c:v>39752</c:v>
                </c:pt>
                <c:pt idx="305">
                  <c:v>39753</c:v>
                </c:pt>
                <c:pt idx="306">
                  <c:v>39754</c:v>
                </c:pt>
                <c:pt idx="307">
                  <c:v>39755</c:v>
                </c:pt>
                <c:pt idx="308">
                  <c:v>39756</c:v>
                </c:pt>
                <c:pt idx="309">
                  <c:v>39757</c:v>
                </c:pt>
                <c:pt idx="310">
                  <c:v>39758</c:v>
                </c:pt>
                <c:pt idx="311">
                  <c:v>39759</c:v>
                </c:pt>
                <c:pt idx="312">
                  <c:v>39760</c:v>
                </c:pt>
                <c:pt idx="313">
                  <c:v>39761</c:v>
                </c:pt>
                <c:pt idx="314">
                  <c:v>39762</c:v>
                </c:pt>
                <c:pt idx="315">
                  <c:v>39763</c:v>
                </c:pt>
                <c:pt idx="316">
                  <c:v>39764</c:v>
                </c:pt>
                <c:pt idx="317">
                  <c:v>39765</c:v>
                </c:pt>
                <c:pt idx="318">
                  <c:v>39766</c:v>
                </c:pt>
                <c:pt idx="319">
                  <c:v>39767</c:v>
                </c:pt>
                <c:pt idx="320">
                  <c:v>39768</c:v>
                </c:pt>
                <c:pt idx="321">
                  <c:v>39769</c:v>
                </c:pt>
                <c:pt idx="322">
                  <c:v>39770</c:v>
                </c:pt>
                <c:pt idx="323">
                  <c:v>39771</c:v>
                </c:pt>
                <c:pt idx="324">
                  <c:v>39772</c:v>
                </c:pt>
                <c:pt idx="325">
                  <c:v>39773</c:v>
                </c:pt>
                <c:pt idx="326">
                  <c:v>39774</c:v>
                </c:pt>
                <c:pt idx="327">
                  <c:v>39775</c:v>
                </c:pt>
                <c:pt idx="328">
                  <c:v>39776</c:v>
                </c:pt>
                <c:pt idx="329">
                  <c:v>39777</c:v>
                </c:pt>
                <c:pt idx="330">
                  <c:v>39778</c:v>
                </c:pt>
                <c:pt idx="331">
                  <c:v>39779</c:v>
                </c:pt>
                <c:pt idx="332">
                  <c:v>39780</c:v>
                </c:pt>
                <c:pt idx="333">
                  <c:v>39781</c:v>
                </c:pt>
                <c:pt idx="334">
                  <c:v>39782</c:v>
                </c:pt>
                <c:pt idx="335">
                  <c:v>39783</c:v>
                </c:pt>
                <c:pt idx="336">
                  <c:v>39784</c:v>
                </c:pt>
                <c:pt idx="337">
                  <c:v>39785</c:v>
                </c:pt>
                <c:pt idx="338">
                  <c:v>39786</c:v>
                </c:pt>
                <c:pt idx="339">
                  <c:v>39787</c:v>
                </c:pt>
                <c:pt idx="340">
                  <c:v>39788</c:v>
                </c:pt>
                <c:pt idx="341">
                  <c:v>39789</c:v>
                </c:pt>
                <c:pt idx="342">
                  <c:v>39790</c:v>
                </c:pt>
                <c:pt idx="343">
                  <c:v>39791</c:v>
                </c:pt>
                <c:pt idx="344">
                  <c:v>39792</c:v>
                </c:pt>
                <c:pt idx="345">
                  <c:v>39793</c:v>
                </c:pt>
                <c:pt idx="346">
                  <c:v>39794</c:v>
                </c:pt>
                <c:pt idx="347">
                  <c:v>39795</c:v>
                </c:pt>
                <c:pt idx="348">
                  <c:v>39796</c:v>
                </c:pt>
                <c:pt idx="349">
                  <c:v>39797</c:v>
                </c:pt>
                <c:pt idx="350">
                  <c:v>39798</c:v>
                </c:pt>
                <c:pt idx="351">
                  <c:v>39799</c:v>
                </c:pt>
                <c:pt idx="352">
                  <c:v>39800</c:v>
                </c:pt>
                <c:pt idx="353">
                  <c:v>39801</c:v>
                </c:pt>
                <c:pt idx="354">
                  <c:v>39802</c:v>
                </c:pt>
                <c:pt idx="355">
                  <c:v>39803</c:v>
                </c:pt>
                <c:pt idx="356">
                  <c:v>39804</c:v>
                </c:pt>
                <c:pt idx="357">
                  <c:v>39805</c:v>
                </c:pt>
                <c:pt idx="358">
                  <c:v>39806</c:v>
                </c:pt>
                <c:pt idx="359">
                  <c:v>39807</c:v>
                </c:pt>
                <c:pt idx="360">
                  <c:v>39808</c:v>
                </c:pt>
                <c:pt idx="361">
                  <c:v>39809</c:v>
                </c:pt>
                <c:pt idx="362">
                  <c:v>39810</c:v>
                </c:pt>
                <c:pt idx="363">
                  <c:v>39811</c:v>
                </c:pt>
                <c:pt idx="364">
                  <c:v>39812</c:v>
                </c:pt>
                <c:pt idx="365">
                  <c:v>39813</c:v>
                </c:pt>
                <c:pt idx="366">
                  <c:v>39814</c:v>
                </c:pt>
                <c:pt idx="367">
                  <c:v>39815</c:v>
                </c:pt>
                <c:pt idx="368">
                  <c:v>39816</c:v>
                </c:pt>
                <c:pt idx="369">
                  <c:v>39817</c:v>
                </c:pt>
                <c:pt idx="370">
                  <c:v>39818</c:v>
                </c:pt>
                <c:pt idx="371">
                  <c:v>39819</c:v>
                </c:pt>
                <c:pt idx="372">
                  <c:v>39820</c:v>
                </c:pt>
                <c:pt idx="373">
                  <c:v>39821</c:v>
                </c:pt>
                <c:pt idx="374">
                  <c:v>39822</c:v>
                </c:pt>
                <c:pt idx="375">
                  <c:v>39823</c:v>
                </c:pt>
                <c:pt idx="376">
                  <c:v>39824</c:v>
                </c:pt>
                <c:pt idx="377">
                  <c:v>39825</c:v>
                </c:pt>
                <c:pt idx="378">
                  <c:v>39826</c:v>
                </c:pt>
                <c:pt idx="379">
                  <c:v>39827</c:v>
                </c:pt>
                <c:pt idx="380">
                  <c:v>39828</c:v>
                </c:pt>
                <c:pt idx="381">
                  <c:v>39829</c:v>
                </c:pt>
                <c:pt idx="382">
                  <c:v>39830</c:v>
                </c:pt>
                <c:pt idx="383">
                  <c:v>39831</c:v>
                </c:pt>
                <c:pt idx="384">
                  <c:v>39832</c:v>
                </c:pt>
                <c:pt idx="385">
                  <c:v>39833</c:v>
                </c:pt>
                <c:pt idx="386">
                  <c:v>39834</c:v>
                </c:pt>
                <c:pt idx="387">
                  <c:v>39835</c:v>
                </c:pt>
                <c:pt idx="388">
                  <c:v>39836</c:v>
                </c:pt>
                <c:pt idx="389">
                  <c:v>39837</c:v>
                </c:pt>
                <c:pt idx="390">
                  <c:v>39838</c:v>
                </c:pt>
                <c:pt idx="391">
                  <c:v>39839</c:v>
                </c:pt>
                <c:pt idx="392">
                  <c:v>39840</c:v>
                </c:pt>
                <c:pt idx="393">
                  <c:v>39841</c:v>
                </c:pt>
                <c:pt idx="394">
                  <c:v>39842</c:v>
                </c:pt>
                <c:pt idx="395">
                  <c:v>39843</c:v>
                </c:pt>
                <c:pt idx="396">
                  <c:v>39844</c:v>
                </c:pt>
                <c:pt idx="397">
                  <c:v>39845</c:v>
                </c:pt>
                <c:pt idx="398">
                  <c:v>39846</c:v>
                </c:pt>
                <c:pt idx="399">
                  <c:v>39847</c:v>
                </c:pt>
                <c:pt idx="400">
                  <c:v>39848</c:v>
                </c:pt>
                <c:pt idx="401">
                  <c:v>39849</c:v>
                </c:pt>
                <c:pt idx="402">
                  <c:v>39850</c:v>
                </c:pt>
                <c:pt idx="403">
                  <c:v>39851</c:v>
                </c:pt>
                <c:pt idx="404">
                  <c:v>39852</c:v>
                </c:pt>
                <c:pt idx="405">
                  <c:v>39853</c:v>
                </c:pt>
                <c:pt idx="406">
                  <c:v>39854</c:v>
                </c:pt>
                <c:pt idx="407">
                  <c:v>39855</c:v>
                </c:pt>
                <c:pt idx="408">
                  <c:v>39856</c:v>
                </c:pt>
                <c:pt idx="409">
                  <c:v>39857</c:v>
                </c:pt>
                <c:pt idx="410">
                  <c:v>39858</c:v>
                </c:pt>
                <c:pt idx="411">
                  <c:v>39859</c:v>
                </c:pt>
                <c:pt idx="412">
                  <c:v>39860</c:v>
                </c:pt>
                <c:pt idx="413">
                  <c:v>39861</c:v>
                </c:pt>
                <c:pt idx="414">
                  <c:v>39862</c:v>
                </c:pt>
                <c:pt idx="415">
                  <c:v>39863</c:v>
                </c:pt>
                <c:pt idx="416">
                  <c:v>39864</c:v>
                </c:pt>
                <c:pt idx="417">
                  <c:v>39865</c:v>
                </c:pt>
                <c:pt idx="418">
                  <c:v>39866</c:v>
                </c:pt>
                <c:pt idx="419">
                  <c:v>39867</c:v>
                </c:pt>
                <c:pt idx="420">
                  <c:v>39868</c:v>
                </c:pt>
                <c:pt idx="421">
                  <c:v>39869</c:v>
                </c:pt>
                <c:pt idx="422">
                  <c:v>39870</c:v>
                </c:pt>
                <c:pt idx="423">
                  <c:v>39871</c:v>
                </c:pt>
                <c:pt idx="424">
                  <c:v>39872</c:v>
                </c:pt>
                <c:pt idx="425">
                  <c:v>39873</c:v>
                </c:pt>
                <c:pt idx="426">
                  <c:v>39874</c:v>
                </c:pt>
                <c:pt idx="427">
                  <c:v>39875</c:v>
                </c:pt>
                <c:pt idx="428">
                  <c:v>39876</c:v>
                </c:pt>
                <c:pt idx="429">
                  <c:v>39877</c:v>
                </c:pt>
                <c:pt idx="430">
                  <c:v>39878</c:v>
                </c:pt>
                <c:pt idx="431">
                  <c:v>39879</c:v>
                </c:pt>
                <c:pt idx="432">
                  <c:v>39880</c:v>
                </c:pt>
                <c:pt idx="433">
                  <c:v>39881</c:v>
                </c:pt>
                <c:pt idx="434">
                  <c:v>39882</c:v>
                </c:pt>
                <c:pt idx="435">
                  <c:v>39883</c:v>
                </c:pt>
                <c:pt idx="436">
                  <c:v>39884</c:v>
                </c:pt>
                <c:pt idx="437">
                  <c:v>39885</c:v>
                </c:pt>
                <c:pt idx="438">
                  <c:v>39886</c:v>
                </c:pt>
                <c:pt idx="439">
                  <c:v>39887</c:v>
                </c:pt>
                <c:pt idx="440">
                  <c:v>39888</c:v>
                </c:pt>
                <c:pt idx="441">
                  <c:v>39889</c:v>
                </c:pt>
                <c:pt idx="442">
                  <c:v>39890</c:v>
                </c:pt>
                <c:pt idx="443">
                  <c:v>39891</c:v>
                </c:pt>
                <c:pt idx="444">
                  <c:v>39892</c:v>
                </c:pt>
                <c:pt idx="445">
                  <c:v>39893</c:v>
                </c:pt>
                <c:pt idx="446">
                  <c:v>39894</c:v>
                </c:pt>
                <c:pt idx="447">
                  <c:v>39895</c:v>
                </c:pt>
                <c:pt idx="448">
                  <c:v>39896</c:v>
                </c:pt>
                <c:pt idx="449">
                  <c:v>39897</c:v>
                </c:pt>
                <c:pt idx="450">
                  <c:v>39898</c:v>
                </c:pt>
                <c:pt idx="451">
                  <c:v>39899</c:v>
                </c:pt>
                <c:pt idx="452">
                  <c:v>39900</c:v>
                </c:pt>
                <c:pt idx="453">
                  <c:v>39901</c:v>
                </c:pt>
                <c:pt idx="454">
                  <c:v>39902</c:v>
                </c:pt>
                <c:pt idx="455">
                  <c:v>39903</c:v>
                </c:pt>
                <c:pt idx="456">
                  <c:v>39904</c:v>
                </c:pt>
                <c:pt idx="457">
                  <c:v>39905</c:v>
                </c:pt>
                <c:pt idx="458">
                  <c:v>39906</c:v>
                </c:pt>
                <c:pt idx="459">
                  <c:v>39907</c:v>
                </c:pt>
                <c:pt idx="460">
                  <c:v>39908</c:v>
                </c:pt>
                <c:pt idx="461">
                  <c:v>39909</c:v>
                </c:pt>
                <c:pt idx="462">
                  <c:v>39910</c:v>
                </c:pt>
                <c:pt idx="463">
                  <c:v>39911</c:v>
                </c:pt>
                <c:pt idx="464">
                  <c:v>39912</c:v>
                </c:pt>
                <c:pt idx="465">
                  <c:v>39913</c:v>
                </c:pt>
                <c:pt idx="466">
                  <c:v>39914</c:v>
                </c:pt>
                <c:pt idx="467">
                  <c:v>39915</c:v>
                </c:pt>
                <c:pt idx="468">
                  <c:v>39916</c:v>
                </c:pt>
                <c:pt idx="469">
                  <c:v>39917</c:v>
                </c:pt>
                <c:pt idx="470">
                  <c:v>39918</c:v>
                </c:pt>
                <c:pt idx="471">
                  <c:v>39919</c:v>
                </c:pt>
                <c:pt idx="472">
                  <c:v>39920</c:v>
                </c:pt>
                <c:pt idx="473">
                  <c:v>39921</c:v>
                </c:pt>
                <c:pt idx="474">
                  <c:v>39922</c:v>
                </c:pt>
                <c:pt idx="475">
                  <c:v>39923</c:v>
                </c:pt>
                <c:pt idx="476">
                  <c:v>39924</c:v>
                </c:pt>
                <c:pt idx="477">
                  <c:v>39925</c:v>
                </c:pt>
                <c:pt idx="478">
                  <c:v>39926</c:v>
                </c:pt>
                <c:pt idx="479">
                  <c:v>39927</c:v>
                </c:pt>
                <c:pt idx="480">
                  <c:v>39928</c:v>
                </c:pt>
                <c:pt idx="481">
                  <c:v>39929</c:v>
                </c:pt>
                <c:pt idx="482">
                  <c:v>39930</c:v>
                </c:pt>
                <c:pt idx="483">
                  <c:v>39931</c:v>
                </c:pt>
                <c:pt idx="484">
                  <c:v>39932</c:v>
                </c:pt>
                <c:pt idx="485">
                  <c:v>39933</c:v>
                </c:pt>
                <c:pt idx="486">
                  <c:v>39934</c:v>
                </c:pt>
                <c:pt idx="487">
                  <c:v>39935</c:v>
                </c:pt>
                <c:pt idx="488">
                  <c:v>39936</c:v>
                </c:pt>
                <c:pt idx="489">
                  <c:v>39937</c:v>
                </c:pt>
                <c:pt idx="490">
                  <c:v>39938</c:v>
                </c:pt>
                <c:pt idx="491">
                  <c:v>39939</c:v>
                </c:pt>
                <c:pt idx="492">
                  <c:v>39940</c:v>
                </c:pt>
                <c:pt idx="493">
                  <c:v>39941</c:v>
                </c:pt>
                <c:pt idx="494">
                  <c:v>39942</c:v>
                </c:pt>
                <c:pt idx="495">
                  <c:v>39943</c:v>
                </c:pt>
                <c:pt idx="496">
                  <c:v>39944</c:v>
                </c:pt>
                <c:pt idx="497">
                  <c:v>39945</c:v>
                </c:pt>
                <c:pt idx="498">
                  <c:v>39946</c:v>
                </c:pt>
                <c:pt idx="499">
                  <c:v>39947</c:v>
                </c:pt>
                <c:pt idx="500">
                  <c:v>39948</c:v>
                </c:pt>
                <c:pt idx="501">
                  <c:v>39949</c:v>
                </c:pt>
                <c:pt idx="502">
                  <c:v>39950</c:v>
                </c:pt>
                <c:pt idx="503">
                  <c:v>39951</c:v>
                </c:pt>
                <c:pt idx="504">
                  <c:v>39952</c:v>
                </c:pt>
                <c:pt idx="505">
                  <c:v>39953</c:v>
                </c:pt>
                <c:pt idx="506">
                  <c:v>39954</c:v>
                </c:pt>
                <c:pt idx="507">
                  <c:v>39955</c:v>
                </c:pt>
                <c:pt idx="508">
                  <c:v>39956</c:v>
                </c:pt>
                <c:pt idx="509">
                  <c:v>39957</c:v>
                </c:pt>
                <c:pt idx="510">
                  <c:v>39958</c:v>
                </c:pt>
                <c:pt idx="511">
                  <c:v>39959</c:v>
                </c:pt>
                <c:pt idx="512">
                  <c:v>39960</c:v>
                </c:pt>
                <c:pt idx="513">
                  <c:v>39961</c:v>
                </c:pt>
                <c:pt idx="514">
                  <c:v>39962</c:v>
                </c:pt>
                <c:pt idx="515">
                  <c:v>39963</c:v>
                </c:pt>
                <c:pt idx="516">
                  <c:v>39964</c:v>
                </c:pt>
                <c:pt idx="517">
                  <c:v>39965</c:v>
                </c:pt>
                <c:pt idx="518">
                  <c:v>39966</c:v>
                </c:pt>
                <c:pt idx="519">
                  <c:v>39967</c:v>
                </c:pt>
                <c:pt idx="520">
                  <c:v>39968</c:v>
                </c:pt>
                <c:pt idx="521">
                  <c:v>39969</c:v>
                </c:pt>
                <c:pt idx="522">
                  <c:v>39970</c:v>
                </c:pt>
                <c:pt idx="523">
                  <c:v>39971</c:v>
                </c:pt>
                <c:pt idx="524">
                  <c:v>39972</c:v>
                </c:pt>
                <c:pt idx="525">
                  <c:v>39973</c:v>
                </c:pt>
                <c:pt idx="526">
                  <c:v>39974</c:v>
                </c:pt>
                <c:pt idx="527">
                  <c:v>39975</c:v>
                </c:pt>
                <c:pt idx="528">
                  <c:v>39976</c:v>
                </c:pt>
                <c:pt idx="529">
                  <c:v>39977</c:v>
                </c:pt>
                <c:pt idx="530">
                  <c:v>39978</c:v>
                </c:pt>
                <c:pt idx="531">
                  <c:v>39979</c:v>
                </c:pt>
                <c:pt idx="532">
                  <c:v>39980</c:v>
                </c:pt>
                <c:pt idx="533">
                  <c:v>39981</c:v>
                </c:pt>
                <c:pt idx="534">
                  <c:v>39982</c:v>
                </c:pt>
                <c:pt idx="535">
                  <c:v>39983</c:v>
                </c:pt>
                <c:pt idx="536">
                  <c:v>39984</c:v>
                </c:pt>
                <c:pt idx="537">
                  <c:v>39985</c:v>
                </c:pt>
                <c:pt idx="538">
                  <c:v>39986</c:v>
                </c:pt>
                <c:pt idx="539">
                  <c:v>39987</c:v>
                </c:pt>
                <c:pt idx="540">
                  <c:v>39988</c:v>
                </c:pt>
                <c:pt idx="541">
                  <c:v>39989</c:v>
                </c:pt>
                <c:pt idx="542">
                  <c:v>39990</c:v>
                </c:pt>
                <c:pt idx="543">
                  <c:v>39991</c:v>
                </c:pt>
                <c:pt idx="544">
                  <c:v>39992</c:v>
                </c:pt>
                <c:pt idx="545">
                  <c:v>39993</c:v>
                </c:pt>
                <c:pt idx="546">
                  <c:v>39994</c:v>
                </c:pt>
                <c:pt idx="547">
                  <c:v>39995</c:v>
                </c:pt>
                <c:pt idx="548">
                  <c:v>39996</c:v>
                </c:pt>
                <c:pt idx="549">
                  <c:v>39997</c:v>
                </c:pt>
                <c:pt idx="550">
                  <c:v>39998</c:v>
                </c:pt>
                <c:pt idx="551">
                  <c:v>39999</c:v>
                </c:pt>
                <c:pt idx="552">
                  <c:v>40000</c:v>
                </c:pt>
                <c:pt idx="553">
                  <c:v>40001</c:v>
                </c:pt>
                <c:pt idx="554">
                  <c:v>40002</c:v>
                </c:pt>
                <c:pt idx="555">
                  <c:v>40003</c:v>
                </c:pt>
                <c:pt idx="556">
                  <c:v>40004</c:v>
                </c:pt>
                <c:pt idx="557">
                  <c:v>40005</c:v>
                </c:pt>
                <c:pt idx="558">
                  <c:v>40006</c:v>
                </c:pt>
                <c:pt idx="559">
                  <c:v>40007</c:v>
                </c:pt>
                <c:pt idx="560">
                  <c:v>40008</c:v>
                </c:pt>
                <c:pt idx="561">
                  <c:v>40009</c:v>
                </c:pt>
                <c:pt idx="562">
                  <c:v>40010</c:v>
                </c:pt>
                <c:pt idx="563">
                  <c:v>40011</c:v>
                </c:pt>
                <c:pt idx="564">
                  <c:v>40012</c:v>
                </c:pt>
                <c:pt idx="565">
                  <c:v>40013</c:v>
                </c:pt>
                <c:pt idx="566">
                  <c:v>40014</c:v>
                </c:pt>
                <c:pt idx="567">
                  <c:v>40015</c:v>
                </c:pt>
                <c:pt idx="568">
                  <c:v>40016</c:v>
                </c:pt>
                <c:pt idx="569">
                  <c:v>40017</c:v>
                </c:pt>
                <c:pt idx="570">
                  <c:v>40018</c:v>
                </c:pt>
                <c:pt idx="571">
                  <c:v>40019</c:v>
                </c:pt>
                <c:pt idx="572">
                  <c:v>40020</c:v>
                </c:pt>
                <c:pt idx="573">
                  <c:v>40021</c:v>
                </c:pt>
                <c:pt idx="574">
                  <c:v>40022</c:v>
                </c:pt>
                <c:pt idx="575">
                  <c:v>40023</c:v>
                </c:pt>
                <c:pt idx="576">
                  <c:v>40024</c:v>
                </c:pt>
                <c:pt idx="577">
                  <c:v>40025</c:v>
                </c:pt>
                <c:pt idx="578">
                  <c:v>40026</c:v>
                </c:pt>
                <c:pt idx="579">
                  <c:v>40027</c:v>
                </c:pt>
                <c:pt idx="580">
                  <c:v>40028</c:v>
                </c:pt>
                <c:pt idx="581">
                  <c:v>40029</c:v>
                </c:pt>
                <c:pt idx="582">
                  <c:v>40030</c:v>
                </c:pt>
                <c:pt idx="583">
                  <c:v>40031</c:v>
                </c:pt>
                <c:pt idx="584">
                  <c:v>40032</c:v>
                </c:pt>
                <c:pt idx="585">
                  <c:v>40033</c:v>
                </c:pt>
                <c:pt idx="586">
                  <c:v>40034</c:v>
                </c:pt>
                <c:pt idx="587">
                  <c:v>40035</c:v>
                </c:pt>
                <c:pt idx="588">
                  <c:v>40036</c:v>
                </c:pt>
                <c:pt idx="589">
                  <c:v>40037</c:v>
                </c:pt>
                <c:pt idx="590">
                  <c:v>40038</c:v>
                </c:pt>
                <c:pt idx="591">
                  <c:v>40039</c:v>
                </c:pt>
                <c:pt idx="592">
                  <c:v>40040</c:v>
                </c:pt>
                <c:pt idx="593">
                  <c:v>40041</c:v>
                </c:pt>
                <c:pt idx="594">
                  <c:v>40042</c:v>
                </c:pt>
                <c:pt idx="595">
                  <c:v>40043</c:v>
                </c:pt>
                <c:pt idx="596">
                  <c:v>40044</c:v>
                </c:pt>
                <c:pt idx="597">
                  <c:v>40045</c:v>
                </c:pt>
                <c:pt idx="598">
                  <c:v>40046</c:v>
                </c:pt>
                <c:pt idx="599">
                  <c:v>40047</c:v>
                </c:pt>
                <c:pt idx="600">
                  <c:v>40048</c:v>
                </c:pt>
                <c:pt idx="601">
                  <c:v>40049</c:v>
                </c:pt>
                <c:pt idx="602">
                  <c:v>40050</c:v>
                </c:pt>
                <c:pt idx="603">
                  <c:v>40051</c:v>
                </c:pt>
                <c:pt idx="604">
                  <c:v>40052</c:v>
                </c:pt>
                <c:pt idx="605">
                  <c:v>40053</c:v>
                </c:pt>
                <c:pt idx="606">
                  <c:v>40054</c:v>
                </c:pt>
                <c:pt idx="607">
                  <c:v>40055</c:v>
                </c:pt>
                <c:pt idx="608">
                  <c:v>40056</c:v>
                </c:pt>
                <c:pt idx="609">
                  <c:v>40057</c:v>
                </c:pt>
                <c:pt idx="610">
                  <c:v>40058</c:v>
                </c:pt>
                <c:pt idx="611">
                  <c:v>40059</c:v>
                </c:pt>
                <c:pt idx="612">
                  <c:v>40060</c:v>
                </c:pt>
                <c:pt idx="613">
                  <c:v>40061</c:v>
                </c:pt>
                <c:pt idx="614">
                  <c:v>40062</c:v>
                </c:pt>
                <c:pt idx="615">
                  <c:v>40063</c:v>
                </c:pt>
                <c:pt idx="616">
                  <c:v>40064</c:v>
                </c:pt>
                <c:pt idx="617">
                  <c:v>40065</c:v>
                </c:pt>
                <c:pt idx="618">
                  <c:v>40066</c:v>
                </c:pt>
                <c:pt idx="619">
                  <c:v>40067</c:v>
                </c:pt>
                <c:pt idx="620">
                  <c:v>40068</c:v>
                </c:pt>
                <c:pt idx="621">
                  <c:v>40069</c:v>
                </c:pt>
                <c:pt idx="622">
                  <c:v>40070</c:v>
                </c:pt>
                <c:pt idx="623">
                  <c:v>40071</c:v>
                </c:pt>
                <c:pt idx="624">
                  <c:v>40072</c:v>
                </c:pt>
                <c:pt idx="625">
                  <c:v>40073</c:v>
                </c:pt>
                <c:pt idx="626">
                  <c:v>40074</c:v>
                </c:pt>
                <c:pt idx="627">
                  <c:v>40075</c:v>
                </c:pt>
                <c:pt idx="628">
                  <c:v>40076</c:v>
                </c:pt>
                <c:pt idx="629">
                  <c:v>40077</c:v>
                </c:pt>
                <c:pt idx="630">
                  <c:v>40078</c:v>
                </c:pt>
                <c:pt idx="631">
                  <c:v>40079</c:v>
                </c:pt>
                <c:pt idx="632">
                  <c:v>40080</c:v>
                </c:pt>
                <c:pt idx="633">
                  <c:v>40081</c:v>
                </c:pt>
                <c:pt idx="634">
                  <c:v>40082</c:v>
                </c:pt>
                <c:pt idx="635">
                  <c:v>40083</c:v>
                </c:pt>
                <c:pt idx="636">
                  <c:v>40084</c:v>
                </c:pt>
                <c:pt idx="637">
                  <c:v>40085</c:v>
                </c:pt>
                <c:pt idx="638">
                  <c:v>40086</c:v>
                </c:pt>
                <c:pt idx="639">
                  <c:v>40087</c:v>
                </c:pt>
                <c:pt idx="640">
                  <c:v>40088</c:v>
                </c:pt>
                <c:pt idx="641">
                  <c:v>40089</c:v>
                </c:pt>
                <c:pt idx="642">
                  <c:v>40090</c:v>
                </c:pt>
                <c:pt idx="643">
                  <c:v>40091</c:v>
                </c:pt>
                <c:pt idx="644">
                  <c:v>40092</c:v>
                </c:pt>
                <c:pt idx="645">
                  <c:v>40093</c:v>
                </c:pt>
                <c:pt idx="646">
                  <c:v>40094</c:v>
                </c:pt>
                <c:pt idx="647">
                  <c:v>40095</c:v>
                </c:pt>
                <c:pt idx="648">
                  <c:v>40096</c:v>
                </c:pt>
                <c:pt idx="649">
                  <c:v>40097</c:v>
                </c:pt>
                <c:pt idx="650">
                  <c:v>40098</c:v>
                </c:pt>
                <c:pt idx="651">
                  <c:v>40099</c:v>
                </c:pt>
                <c:pt idx="652">
                  <c:v>40100</c:v>
                </c:pt>
                <c:pt idx="653">
                  <c:v>40101</c:v>
                </c:pt>
                <c:pt idx="654">
                  <c:v>40102</c:v>
                </c:pt>
                <c:pt idx="655">
                  <c:v>40103</c:v>
                </c:pt>
                <c:pt idx="656">
                  <c:v>40104</c:v>
                </c:pt>
                <c:pt idx="657">
                  <c:v>40105</c:v>
                </c:pt>
                <c:pt idx="658">
                  <c:v>40106</c:v>
                </c:pt>
                <c:pt idx="659">
                  <c:v>40107</c:v>
                </c:pt>
                <c:pt idx="660">
                  <c:v>40108</c:v>
                </c:pt>
                <c:pt idx="661">
                  <c:v>40109</c:v>
                </c:pt>
                <c:pt idx="662">
                  <c:v>40110</c:v>
                </c:pt>
                <c:pt idx="663">
                  <c:v>40111</c:v>
                </c:pt>
                <c:pt idx="664">
                  <c:v>40112</c:v>
                </c:pt>
                <c:pt idx="665">
                  <c:v>40113</c:v>
                </c:pt>
                <c:pt idx="666">
                  <c:v>40114</c:v>
                </c:pt>
                <c:pt idx="667">
                  <c:v>40115</c:v>
                </c:pt>
                <c:pt idx="668">
                  <c:v>40116</c:v>
                </c:pt>
                <c:pt idx="669">
                  <c:v>40117</c:v>
                </c:pt>
                <c:pt idx="670">
                  <c:v>40118</c:v>
                </c:pt>
                <c:pt idx="671">
                  <c:v>40119</c:v>
                </c:pt>
                <c:pt idx="672">
                  <c:v>40120</c:v>
                </c:pt>
                <c:pt idx="673">
                  <c:v>40121</c:v>
                </c:pt>
                <c:pt idx="674">
                  <c:v>40122</c:v>
                </c:pt>
                <c:pt idx="675">
                  <c:v>40123</c:v>
                </c:pt>
                <c:pt idx="676">
                  <c:v>40124</c:v>
                </c:pt>
                <c:pt idx="677">
                  <c:v>40125</c:v>
                </c:pt>
                <c:pt idx="678">
                  <c:v>40126</c:v>
                </c:pt>
                <c:pt idx="679">
                  <c:v>40127</c:v>
                </c:pt>
                <c:pt idx="680">
                  <c:v>40128</c:v>
                </c:pt>
                <c:pt idx="681">
                  <c:v>40129</c:v>
                </c:pt>
                <c:pt idx="682">
                  <c:v>40130</c:v>
                </c:pt>
                <c:pt idx="683">
                  <c:v>40131</c:v>
                </c:pt>
                <c:pt idx="684">
                  <c:v>40132</c:v>
                </c:pt>
                <c:pt idx="685">
                  <c:v>40133</c:v>
                </c:pt>
                <c:pt idx="686">
                  <c:v>40134</c:v>
                </c:pt>
                <c:pt idx="687">
                  <c:v>40135</c:v>
                </c:pt>
                <c:pt idx="688">
                  <c:v>40136</c:v>
                </c:pt>
                <c:pt idx="689">
                  <c:v>40137</c:v>
                </c:pt>
                <c:pt idx="690">
                  <c:v>40138</c:v>
                </c:pt>
                <c:pt idx="691">
                  <c:v>40139</c:v>
                </c:pt>
                <c:pt idx="692">
                  <c:v>40140</c:v>
                </c:pt>
                <c:pt idx="693">
                  <c:v>40141</c:v>
                </c:pt>
                <c:pt idx="694">
                  <c:v>40142</c:v>
                </c:pt>
                <c:pt idx="695">
                  <c:v>40143</c:v>
                </c:pt>
                <c:pt idx="696">
                  <c:v>40144</c:v>
                </c:pt>
                <c:pt idx="697">
                  <c:v>40145</c:v>
                </c:pt>
                <c:pt idx="698">
                  <c:v>40146</c:v>
                </c:pt>
                <c:pt idx="699">
                  <c:v>40147</c:v>
                </c:pt>
                <c:pt idx="700">
                  <c:v>40148</c:v>
                </c:pt>
                <c:pt idx="701">
                  <c:v>40149</c:v>
                </c:pt>
                <c:pt idx="702">
                  <c:v>40150</c:v>
                </c:pt>
                <c:pt idx="703">
                  <c:v>40151</c:v>
                </c:pt>
                <c:pt idx="704">
                  <c:v>40152</c:v>
                </c:pt>
                <c:pt idx="705">
                  <c:v>40153</c:v>
                </c:pt>
                <c:pt idx="706">
                  <c:v>40154</c:v>
                </c:pt>
                <c:pt idx="707">
                  <c:v>40155</c:v>
                </c:pt>
                <c:pt idx="708">
                  <c:v>40156</c:v>
                </c:pt>
                <c:pt idx="709">
                  <c:v>40157</c:v>
                </c:pt>
                <c:pt idx="710">
                  <c:v>40158</c:v>
                </c:pt>
                <c:pt idx="711">
                  <c:v>40159</c:v>
                </c:pt>
                <c:pt idx="712">
                  <c:v>40160</c:v>
                </c:pt>
                <c:pt idx="713">
                  <c:v>40161</c:v>
                </c:pt>
                <c:pt idx="714">
                  <c:v>40162</c:v>
                </c:pt>
                <c:pt idx="715">
                  <c:v>40163</c:v>
                </c:pt>
                <c:pt idx="716">
                  <c:v>40164</c:v>
                </c:pt>
                <c:pt idx="717">
                  <c:v>40165</c:v>
                </c:pt>
                <c:pt idx="718">
                  <c:v>40166</c:v>
                </c:pt>
                <c:pt idx="719">
                  <c:v>40167</c:v>
                </c:pt>
                <c:pt idx="720">
                  <c:v>40168</c:v>
                </c:pt>
                <c:pt idx="721">
                  <c:v>40169</c:v>
                </c:pt>
                <c:pt idx="722">
                  <c:v>40170</c:v>
                </c:pt>
                <c:pt idx="723">
                  <c:v>40171</c:v>
                </c:pt>
                <c:pt idx="724">
                  <c:v>40172</c:v>
                </c:pt>
                <c:pt idx="725">
                  <c:v>40173</c:v>
                </c:pt>
                <c:pt idx="726">
                  <c:v>40174</c:v>
                </c:pt>
                <c:pt idx="727">
                  <c:v>40175</c:v>
                </c:pt>
                <c:pt idx="728">
                  <c:v>40176</c:v>
                </c:pt>
                <c:pt idx="729">
                  <c:v>40177</c:v>
                </c:pt>
                <c:pt idx="730">
                  <c:v>40178</c:v>
                </c:pt>
                <c:pt idx="731">
                  <c:v>40179</c:v>
                </c:pt>
                <c:pt idx="732">
                  <c:v>40180</c:v>
                </c:pt>
                <c:pt idx="733">
                  <c:v>40181</c:v>
                </c:pt>
                <c:pt idx="734">
                  <c:v>40182</c:v>
                </c:pt>
                <c:pt idx="735">
                  <c:v>40183</c:v>
                </c:pt>
                <c:pt idx="736">
                  <c:v>40184</c:v>
                </c:pt>
                <c:pt idx="737">
                  <c:v>40185</c:v>
                </c:pt>
                <c:pt idx="738">
                  <c:v>40186</c:v>
                </c:pt>
                <c:pt idx="739">
                  <c:v>40187</c:v>
                </c:pt>
                <c:pt idx="740">
                  <c:v>40188</c:v>
                </c:pt>
                <c:pt idx="741">
                  <c:v>40189</c:v>
                </c:pt>
                <c:pt idx="742">
                  <c:v>40190</c:v>
                </c:pt>
                <c:pt idx="743">
                  <c:v>40191</c:v>
                </c:pt>
                <c:pt idx="744">
                  <c:v>40192</c:v>
                </c:pt>
                <c:pt idx="745">
                  <c:v>40193</c:v>
                </c:pt>
                <c:pt idx="746">
                  <c:v>40194</c:v>
                </c:pt>
                <c:pt idx="747">
                  <c:v>40195</c:v>
                </c:pt>
                <c:pt idx="748">
                  <c:v>40196</c:v>
                </c:pt>
                <c:pt idx="749">
                  <c:v>40197</c:v>
                </c:pt>
                <c:pt idx="750">
                  <c:v>40198</c:v>
                </c:pt>
                <c:pt idx="751">
                  <c:v>40199</c:v>
                </c:pt>
                <c:pt idx="752">
                  <c:v>40200</c:v>
                </c:pt>
                <c:pt idx="753">
                  <c:v>40201</c:v>
                </c:pt>
                <c:pt idx="754">
                  <c:v>40202</c:v>
                </c:pt>
                <c:pt idx="755">
                  <c:v>40203</c:v>
                </c:pt>
                <c:pt idx="756">
                  <c:v>40204</c:v>
                </c:pt>
                <c:pt idx="757">
                  <c:v>40205</c:v>
                </c:pt>
                <c:pt idx="758">
                  <c:v>40206</c:v>
                </c:pt>
                <c:pt idx="759">
                  <c:v>40207</c:v>
                </c:pt>
                <c:pt idx="760">
                  <c:v>40208</c:v>
                </c:pt>
                <c:pt idx="761">
                  <c:v>40209</c:v>
                </c:pt>
                <c:pt idx="762">
                  <c:v>40210</c:v>
                </c:pt>
                <c:pt idx="763">
                  <c:v>40211</c:v>
                </c:pt>
                <c:pt idx="764">
                  <c:v>40212</c:v>
                </c:pt>
                <c:pt idx="765">
                  <c:v>40213</c:v>
                </c:pt>
                <c:pt idx="766">
                  <c:v>40214</c:v>
                </c:pt>
                <c:pt idx="767">
                  <c:v>40215</c:v>
                </c:pt>
                <c:pt idx="768">
                  <c:v>40216</c:v>
                </c:pt>
                <c:pt idx="769">
                  <c:v>40217</c:v>
                </c:pt>
                <c:pt idx="770">
                  <c:v>40218</c:v>
                </c:pt>
                <c:pt idx="771">
                  <c:v>40219</c:v>
                </c:pt>
                <c:pt idx="772">
                  <c:v>40220</c:v>
                </c:pt>
                <c:pt idx="773">
                  <c:v>40221</c:v>
                </c:pt>
                <c:pt idx="774">
                  <c:v>40222</c:v>
                </c:pt>
                <c:pt idx="775">
                  <c:v>40223</c:v>
                </c:pt>
                <c:pt idx="776">
                  <c:v>40224</c:v>
                </c:pt>
                <c:pt idx="777">
                  <c:v>40225</c:v>
                </c:pt>
                <c:pt idx="778">
                  <c:v>40226</c:v>
                </c:pt>
                <c:pt idx="779">
                  <c:v>40227</c:v>
                </c:pt>
                <c:pt idx="780">
                  <c:v>40228</c:v>
                </c:pt>
                <c:pt idx="781">
                  <c:v>40229</c:v>
                </c:pt>
                <c:pt idx="782">
                  <c:v>40230</c:v>
                </c:pt>
                <c:pt idx="783">
                  <c:v>40231</c:v>
                </c:pt>
                <c:pt idx="784">
                  <c:v>40232</c:v>
                </c:pt>
                <c:pt idx="785">
                  <c:v>40233</c:v>
                </c:pt>
                <c:pt idx="786">
                  <c:v>40234</c:v>
                </c:pt>
                <c:pt idx="787">
                  <c:v>40235</c:v>
                </c:pt>
                <c:pt idx="788">
                  <c:v>40236</c:v>
                </c:pt>
                <c:pt idx="789">
                  <c:v>40237</c:v>
                </c:pt>
                <c:pt idx="790">
                  <c:v>40238</c:v>
                </c:pt>
                <c:pt idx="791">
                  <c:v>40239</c:v>
                </c:pt>
                <c:pt idx="792">
                  <c:v>40240</c:v>
                </c:pt>
                <c:pt idx="793">
                  <c:v>40241</c:v>
                </c:pt>
                <c:pt idx="794">
                  <c:v>40242</c:v>
                </c:pt>
                <c:pt idx="795">
                  <c:v>40243</c:v>
                </c:pt>
                <c:pt idx="796">
                  <c:v>40244</c:v>
                </c:pt>
                <c:pt idx="797">
                  <c:v>40245</c:v>
                </c:pt>
                <c:pt idx="798">
                  <c:v>40246</c:v>
                </c:pt>
                <c:pt idx="799">
                  <c:v>40247</c:v>
                </c:pt>
                <c:pt idx="800">
                  <c:v>40248</c:v>
                </c:pt>
                <c:pt idx="801">
                  <c:v>40249</c:v>
                </c:pt>
                <c:pt idx="802">
                  <c:v>40250</c:v>
                </c:pt>
                <c:pt idx="803">
                  <c:v>40251</c:v>
                </c:pt>
                <c:pt idx="804">
                  <c:v>40252</c:v>
                </c:pt>
                <c:pt idx="805">
                  <c:v>40253</c:v>
                </c:pt>
                <c:pt idx="806">
                  <c:v>40254</c:v>
                </c:pt>
                <c:pt idx="807">
                  <c:v>40255</c:v>
                </c:pt>
                <c:pt idx="808">
                  <c:v>40256</c:v>
                </c:pt>
                <c:pt idx="809">
                  <c:v>40257</c:v>
                </c:pt>
                <c:pt idx="810">
                  <c:v>40258</c:v>
                </c:pt>
                <c:pt idx="811">
                  <c:v>40259</c:v>
                </c:pt>
                <c:pt idx="812">
                  <c:v>40260</c:v>
                </c:pt>
                <c:pt idx="813">
                  <c:v>40261</c:v>
                </c:pt>
                <c:pt idx="814">
                  <c:v>40262</c:v>
                </c:pt>
                <c:pt idx="815">
                  <c:v>40263</c:v>
                </c:pt>
                <c:pt idx="816">
                  <c:v>40264</c:v>
                </c:pt>
                <c:pt idx="817">
                  <c:v>40265</c:v>
                </c:pt>
                <c:pt idx="818">
                  <c:v>40266</c:v>
                </c:pt>
                <c:pt idx="819">
                  <c:v>40267</c:v>
                </c:pt>
                <c:pt idx="820">
                  <c:v>40268</c:v>
                </c:pt>
                <c:pt idx="821">
                  <c:v>40269</c:v>
                </c:pt>
                <c:pt idx="822">
                  <c:v>40270</c:v>
                </c:pt>
                <c:pt idx="823">
                  <c:v>40271</c:v>
                </c:pt>
                <c:pt idx="824">
                  <c:v>40272</c:v>
                </c:pt>
                <c:pt idx="825">
                  <c:v>40273</c:v>
                </c:pt>
                <c:pt idx="826">
                  <c:v>40274</c:v>
                </c:pt>
                <c:pt idx="827">
                  <c:v>40275</c:v>
                </c:pt>
                <c:pt idx="828">
                  <c:v>40276</c:v>
                </c:pt>
                <c:pt idx="829">
                  <c:v>40277</c:v>
                </c:pt>
                <c:pt idx="830">
                  <c:v>40278</c:v>
                </c:pt>
                <c:pt idx="831">
                  <c:v>40279</c:v>
                </c:pt>
                <c:pt idx="832">
                  <c:v>40280</c:v>
                </c:pt>
                <c:pt idx="833">
                  <c:v>40281</c:v>
                </c:pt>
                <c:pt idx="834">
                  <c:v>40282</c:v>
                </c:pt>
                <c:pt idx="835">
                  <c:v>40283</c:v>
                </c:pt>
                <c:pt idx="836">
                  <c:v>40284</c:v>
                </c:pt>
                <c:pt idx="837">
                  <c:v>40285</c:v>
                </c:pt>
                <c:pt idx="838">
                  <c:v>40286</c:v>
                </c:pt>
                <c:pt idx="839">
                  <c:v>40287</c:v>
                </c:pt>
                <c:pt idx="840">
                  <c:v>40288</c:v>
                </c:pt>
                <c:pt idx="841">
                  <c:v>40289</c:v>
                </c:pt>
                <c:pt idx="842">
                  <c:v>40290</c:v>
                </c:pt>
                <c:pt idx="843">
                  <c:v>40291</c:v>
                </c:pt>
                <c:pt idx="844">
                  <c:v>40292</c:v>
                </c:pt>
                <c:pt idx="845">
                  <c:v>40293</c:v>
                </c:pt>
                <c:pt idx="846">
                  <c:v>40294</c:v>
                </c:pt>
                <c:pt idx="847">
                  <c:v>40295</c:v>
                </c:pt>
                <c:pt idx="848">
                  <c:v>40296</c:v>
                </c:pt>
                <c:pt idx="849">
                  <c:v>40297</c:v>
                </c:pt>
                <c:pt idx="850">
                  <c:v>40298</c:v>
                </c:pt>
                <c:pt idx="851">
                  <c:v>40299</c:v>
                </c:pt>
                <c:pt idx="852">
                  <c:v>40300</c:v>
                </c:pt>
                <c:pt idx="853">
                  <c:v>40301</c:v>
                </c:pt>
                <c:pt idx="854">
                  <c:v>40302</c:v>
                </c:pt>
                <c:pt idx="855">
                  <c:v>40303</c:v>
                </c:pt>
                <c:pt idx="856">
                  <c:v>40304</c:v>
                </c:pt>
                <c:pt idx="857">
                  <c:v>40305</c:v>
                </c:pt>
                <c:pt idx="858">
                  <c:v>40306</c:v>
                </c:pt>
                <c:pt idx="859">
                  <c:v>40307</c:v>
                </c:pt>
                <c:pt idx="860">
                  <c:v>40308</c:v>
                </c:pt>
                <c:pt idx="861">
                  <c:v>40309</c:v>
                </c:pt>
                <c:pt idx="862">
                  <c:v>40310</c:v>
                </c:pt>
                <c:pt idx="863">
                  <c:v>40311</c:v>
                </c:pt>
                <c:pt idx="864">
                  <c:v>40312</c:v>
                </c:pt>
                <c:pt idx="865">
                  <c:v>40313</c:v>
                </c:pt>
                <c:pt idx="866">
                  <c:v>40314</c:v>
                </c:pt>
                <c:pt idx="867">
                  <c:v>40315</c:v>
                </c:pt>
                <c:pt idx="868">
                  <c:v>40316</c:v>
                </c:pt>
                <c:pt idx="869">
                  <c:v>40317</c:v>
                </c:pt>
                <c:pt idx="870">
                  <c:v>40318</c:v>
                </c:pt>
                <c:pt idx="871">
                  <c:v>40319</c:v>
                </c:pt>
                <c:pt idx="872">
                  <c:v>40320</c:v>
                </c:pt>
                <c:pt idx="873">
                  <c:v>40321</c:v>
                </c:pt>
                <c:pt idx="874">
                  <c:v>40322</c:v>
                </c:pt>
                <c:pt idx="875">
                  <c:v>40323</c:v>
                </c:pt>
                <c:pt idx="876">
                  <c:v>40324</c:v>
                </c:pt>
                <c:pt idx="877">
                  <c:v>40325</c:v>
                </c:pt>
                <c:pt idx="878">
                  <c:v>40326</c:v>
                </c:pt>
                <c:pt idx="879">
                  <c:v>40327</c:v>
                </c:pt>
                <c:pt idx="880">
                  <c:v>40328</c:v>
                </c:pt>
                <c:pt idx="881">
                  <c:v>40329</c:v>
                </c:pt>
                <c:pt idx="882">
                  <c:v>40330</c:v>
                </c:pt>
                <c:pt idx="883">
                  <c:v>40331</c:v>
                </c:pt>
                <c:pt idx="884">
                  <c:v>40332</c:v>
                </c:pt>
                <c:pt idx="885">
                  <c:v>40333</c:v>
                </c:pt>
                <c:pt idx="886">
                  <c:v>40334</c:v>
                </c:pt>
                <c:pt idx="887">
                  <c:v>40335</c:v>
                </c:pt>
                <c:pt idx="888">
                  <c:v>40336</c:v>
                </c:pt>
                <c:pt idx="889">
                  <c:v>40337</c:v>
                </c:pt>
                <c:pt idx="890">
                  <c:v>40338</c:v>
                </c:pt>
                <c:pt idx="891">
                  <c:v>40339</c:v>
                </c:pt>
                <c:pt idx="892">
                  <c:v>40340</c:v>
                </c:pt>
                <c:pt idx="893">
                  <c:v>40341</c:v>
                </c:pt>
                <c:pt idx="894">
                  <c:v>40342</c:v>
                </c:pt>
                <c:pt idx="895">
                  <c:v>40343</c:v>
                </c:pt>
                <c:pt idx="896">
                  <c:v>40344</c:v>
                </c:pt>
                <c:pt idx="897">
                  <c:v>40345</c:v>
                </c:pt>
                <c:pt idx="898">
                  <c:v>40346</c:v>
                </c:pt>
                <c:pt idx="899">
                  <c:v>40347</c:v>
                </c:pt>
                <c:pt idx="900">
                  <c:v>40348</c:v>
                </c:pt>
                <c:pt idx="901">
                  <c:v>40349</c:v>
                </c:pt>
                <c:pt idx="902">
                  <c:v>40350</c:v>
                </c:pt>
                <c:pt idx="903">
                  <c:v>40351</c:v>
                </c:pt>
                <c:pt idx="904">
                  <c:v>40352</c:v>
                </c:pt>
                <c:pt idx="905">
                  <c:v>40353</c:v>
                </c:pt>
                <c:pt idx="906">
                  <c:v>40354</c:v>
                </c:pt>
                <c:pt idx="907">
                  <c:v>40355</c:v>
                </c:pt>
                <c:pt idx="908">
                  <c:v>40356</c:v>
                </c:pt>
                <c:pt idx="909">
                  <c:v>40357</c:v>
                </c:pt>
                <c:pt idx="910">
                  <c:v>40358</c:v>
                </c:pt>
                <c:pt idx="911">
                  <c:v>40359</c:v>
                </c:pt>
                <c:pt idx="912">
                  <c:v>40360</c:v>
                </c:pt>
                <c:pt idx="913">
                  <c:v>40361</c:v>
                </c:pt>
                <c:pt idx="914">
                  <c:v>40362</c:v>
                </c:pt>
                <c:pt idx="915">
                  <c:v>40363</c:v>
                </c:pt>
                <c:pt idx="916">
                  <c:v>40364</c:v>
                </c:pt>
                <c:pt idx="917">
                  <c:v>40365</c:v>
                </c:pt>
                <c:pt idx="918">
                  <c:v>40366</c:v>
                </c:pt>
                <c:pt idx="919">
                  <c:v>40367</c:v>
                </c:pt>
                <c:pt idx="920">
                  <c:v>40368</c:v>
                </c:pt>
                <c:pt idx="921">
                  <c:v>40369</c:v>
                </c:pt>
                <c:pt idx="922">
                  <c:v>40370</c:v>
                </c:pt>
                <c:pt idx="923">
                  <c:v>40371</c:v>
                </c:pt>
                <c:pt idx="924">
                  <c:v>40372</c:v>
                </c:pt>
                <c:pt idx="925">
                  <c:v>40373</c:v>
                </c:pt>
                <c:pt idx="926">
                  <c:v>40374</c:v>
                </c:pt>
                <c:pt idx="927">
                  <c:v>40375</c:v>
                </c:pt>
                <c:pt idx="928">
                  <c:v>40376</c:v>
                </c:pt>
                <c:pt idx="929">
                  <c:v>40377</c:v>
                </c:pt>
                <c:pt idx="930">
                  <c:v>40378</c:v>
                </c:pt>
                <c:pt idx="931">
                  <c:v>40379</c:v>
                </c:pt>
                <c:pt idx="932">
                  <c:v>40380</c:v>
                </c:pt>
                <c:pt idx="933">
                  <c:v>40381</c:v>
                </c:pt>
                <c:pt idx="934">
                  <c:v>40382</c:v>
                </c:pt>
                <c:pt idx="935">
                  <c:v>40383</c:v>
                </c:pt>
                <c:pt idx="936">
                  <c:v>40384</c:v>
                </c:pt>
                <c:pt idx="937">
                  <c:v>40385</c:v>
                </c:pt>
                <c:pt idx="938">
                  <c:v>40386</c:v>
                </c:pt>
                <c:pt idx="939">
                  <c:v>40387</c:v>
                </c:pt>
                <c:pt idx="940">
                  <c:v>40388</c:v>
                </c:pt>
                <c:pt idx="941">
                  <c:v>40389</c:v>
                </c:pt>
                <c:pt idx="942">
                  <c:v>40390</c:v>
                </c:pt>
                <c:pt idx="943">
                  <c:v>40391</c:v>
                </c:pt>
                <c:pt idx="944">
                  <c:v>40392</c:v>
                </c:pt>
                <c:pt idx="945">
                  <c:v>40393</c:v>
                </c:pt>
                <c:pt idx="946">
                  <c:v>40394</c:v>
                </c:pt>
                <c:pt idx="947">
                  <c:v>40395</c:v>
                </c:pt>
                <c:pt idx="948">
                  <c:v>40396</c:v>
                </c:pt>
                <c:pt idx="949">
                  <c:v>40397</c:v>
                </c:pt>
                <c:pt idx="950">
                  <c:v>40398</c:v>
                </c:pt>
                <c:pt idx="951">
                  <c:v>40399</c:v>
                </c:pt>
                <c:pt idx="952">
                  <c:v>40400</c:v>
                </c:pt>
                <c:pt idx="953">
                  <c:v>40401</c:v>
                </c:pt>
                <c:pt idx="954">
                  <c:v>40402</c:v>
                </c:pt>
                <c:pt idx="955">
                  <c:v>40403</c:v>
                </c:pt>
                <c:pt idx="956">
                  <c:v>40404</c:v>
                </c:pt>
                <c:pt idx="957">
                  <c:v>40405</c:v>
                </c:pt>
                <c:pt idx="958">
                  <c:v>40406</c:v>
                </c:pt>
                <c:pt idx="959">
                  <c:v>40407</c:v>
                </c:pt>
                <c:pt idx="960">
                  <c:v>40408</c:v>
                </c:pt>
                <c:pt idx="961">
                  <c:v>40409</c:v>
                </c:pt>
                <c:pt idx="962">
                  <c:v>40410</c:v>
                </c:pt>
                <c:pt idx="963">
                  <c:v>40411</c:v>
                </c:pt>
                <c:pt idx="964">
                  <c:v>40412</c:v>
                </c:pt>
                <c:pt idx="965">
                  <c:v>40413</c:v>
                </c:pt>
                <c:pt idx="966">
                  <c:v>40414</c:v>
                </c:pt>
                <c:pt idx="967">
                  <c:v>40415</c:v>
                </c:pt>
                <c:pt idx="968">
                  <c:v>40416</c:v>
                </c:pt>
                <c:pt idx="969">
                  <c:v>40417</c:v>
                </c:pt>
                <c:pt idx="970">
                  <c:v>40418</c:v>
                </c:pt>
                <c:pt idx="971">
                  <c:v>40419</c:v>
                </c:pt>
                <c:pt idx="972">
                  <c:v>40420</c:v>
                </c:pt>
                <c:pt idx="973">
                  <c:v>40421</c:v>
                </c:pt>
                <c:pt idx="974">
                  <c:v>40422</c:v>
                </c:pt>
                <c:pt idx="975">
                  <c:v>40423</c:v>
                </c:pt>
                <c:pt idx="976">
                  <c:v>40424</c:v>
                </c:pt>
                <c:pt idx="977">
                  <c:v>40425</c:v>
                </c:pt>
                <c:pt idx="978">
                  <c:v>40426</c:v>
                </c:pt>
                <c:pt idx="979">
                  <c:v>40427</c:v>
                </c:pt>
                <c:pt idx="980">
                  <c:v>40428</c:v>
                </c:pt>
                <c:pt idx="981">
                  <c:v>40429</c:v>
                </c:pt>
                <c:pt idx="982">
                  <c:v>40430</c:v>
                </c:pt>
                <c:pt idx="983">
                  <c:v>40431</c:v>
                </c:pt>
                <c:pt idx="984">
                  <c:v>40432</c:v>
                </c:pt>
                <c:pt idx="985">
                  <c:v>40433</c:v>
                </c:pt>
                <c:pt idx="986">
                  <c:v>40434</c:v>
                </c:pt>
                <c:pt idx="987">
                  <c:v>40435</c:v>
                </c:pt>
                <c:pt idx="988">
                  <c:v>40436</c:v>
                </c:pt>
                <c:pt idx="989">
                  <c:v>40437</c:v>
                </c:pt>
                <c:pt idx="990">
                  <c:v>40438</c:v>
                </c:pt>
                <c:pt idx="991">
                  <c:v>40439</c:v>
                </c:pt>
                <c:pt idx="992">
                  <c:v>40440</c:v>
                </c:pt>
                <c:pt idx="993">
                  <c:v>40441</c:v>
                </c:pt>
                <c:pt idx="994">
                  <c:v>40442</c:v>
                </c:pt>
                <c:pt idx="995">
                  <c:v>40443</c:v>
                </c:pt>
                <c:pt idx="996">
                  <c:v>40444</c:v>
                </c:pt>
                <c:pt idx="997">
                  <c:v>40445</c:v>
                </c:pt>
                <c:pt idx="998">
                  <c:v>40446</c:v>
                </c:pt>
                <c:pt idx="999">
                  <c:v>40447</c:v>
                </c:pt>
                <c:pt idx="1000">
                  <c:v>40448</c:v>
                </c:pt>
                <c:pt idx="1001">
                  <c:v>40449</c:v>
                </c:pt>
                <c:pt idx="1002">
                  <c:v>40450</c:v>
                </c:pt>
                <c:pt idx="1003">
                  <c:v>40451</c:v>
                </c:pt>
                <c:pt idx="1004">
                  <c:v>40452</c:v>
                </c:pt>
                <c:pt idx="1005">
                  <c:v>40453</c:v>
                </c:pt>
                <c:pt idx="1006">
                  <c:v>40454</c:v>
                </c:pt>
                <c:pt idx="1007">
                  <c:v>40455</c:v>
                </c:pt>
                <c:pt idx="1008">
                  <c:v>40456</c:v>
                </c:pt>
                <c:pt idx="1009">
                  <c:v>40457</c:v>
                </c:pt>
                <c:pt idx="1010">
                  <c:v>40458</c:v>
                </c:pt>
                <c:pt idx="1011">
                  <c:v>40459</c:v>
                </c:pt>
                <c:pt idx="1012">
                  <c:v>40460</c:v>
                </c:pt>
                <c:pt idx="1013">
                  <c:v>40461</c:v>
                </c:pt>
                <c:pt idx="1014">
                  <c:v>40462</c:v>
                </c:pt>
                <c:pt idx="1015">
                  <c:v>40463</c:v>
                </c:pt>
                <c:pt idx="1016">
                  <c:v>40464</c:v>
                </c:pt>
                <c:pt idx="1017">
                  <c:v>40465</c:v>
                </c:pt>
                <c:pt idx="1018">
                  <c:v>40466</c:v>
                </c:pt>
                <c:pt idx="1019">
                  <c:v>40467</c:v>
                </c:pt>
                <c:pt idx="1020">
                  <c:v>40468</c:v>
                </c:pt>
                <c:pt idx="1021">
                  <c:v>40469</c:v>
                </c:pt>
                <c:pt idx="1022">
                  <c:v>40470</c:v>
                </c:pt>
                <c:pt idx="1023">
                  <c:v>40471</c:v>
                </c:pt>
                <c:pt idx="1024">
                  <c:v>40472</c:v>
                </c:pt>
                <c:pt idx="1025">
                  <c:v>40473</c:v>
                </c:pt>
                <c:pt idx="1026">
                  <c:v>40474</c:v>
                </c:pt>
                <c:pt idx="1027">
                  <c:v>40475</c:v>
                </c:pt>
                <c:pt idx="1028">
                  <c:v>40476</c:v>
                </c:pt>
                <c:pt idx="1029">
                  <c:v>40477</c:v>
                </c:pt>
                <c:pt idx="1030">
                  <c:v>40478</c:v>
                </c:pt>
                <c:pt idx="1031">
                  <c:v>40479</c:v>
                </c:pt>
                <c:pt idx="1032">
                  <c:v>40480</c:v>
                </c:pt>
                <c:pt idx="1033">
                  <c:v>40481</c:v>
                </c:pt>
                <c:pt idx="1034">
                  <c:v>40482</c:v>
                </c:pt>
                <c:pt idx="1035">
                  <c:v>40483</c:v>
                </c:pt>
                <c:pt idx="1036">
                  <c:v>40484</c:v>
                </c:pt>
                <c:pt idx="1037">
                  <c:v>40485</c:v>
                </c:pt>
                <c:pt idx="1038">
                  <c:v>40486</c:v>
                </c:pt>
                <c:pt idx="1039">
                  <c:v>40487</c:v>
                </c:pt>
                <c:pt idx="1040">
                  <c:v>40488</c:v>
                </c:pt>
                <c:pt idx="1041">
                  <c:v>40489</c:v>
                </c:pt>
                <c:pt idx="1042">
                  <c:v>40490</c:v>
                </c:pt>
                <c:pt idx="1043">
                  <c:v>40491</c:v>
                </c:pt>
                <c:pt idx="1044">
                  <c:v>40492</c:v>
                </c:pt>
                <c:pt idx="1045">
                  <c:v>40493</c:v>
                </c:pt>
                <c:pt idx="1046">
                  <c:v>40494</c:v>
                </c:pt>
                <c:pt idx="1047">
                  <c:v>40495</c:v>
                </c:pt>
                <c:pt idx="1048">
                  <c:v>40496</c:v>
                </c:pt>
                <c:pt idx="1049">
                  <c:v>40497</c:v>
                </c:pt>
                <c:pt idx="1050">
                  <c:v>40498</c:v>
                </c:pt>
                <c:pt idx="1051">
                  <c:v>40499</c:v>
                </c:pt>
                <c:pt idx="1052">
                  <c:v>40500</c:v>
                </c:pt>
                <c:pt idx="1053">
                  <c:v>40501</c:v>
                </c:pt>
                <c:pt idx="1054">
                  <c:v>40502</c:v>
                </c:pt>
                <c:pt idx="1055">
                  <c:v>40503</c:v>
                </c:pt>
                <c:pt idx="1056">
                  <c:v>40504</c:v>
                </c:pt>
                <c:pt idx="1057">
                  <c:v>40505</c:v>
                </c:pt>
                <c:pt idx="1058">
                  <c:v>40506</c:v>
                </c:pt>
                <c:pt idx="1059">
                  <c:v>40507</c:v>
                </c:pt>
                <c:pt idx="1060">
                  <c:v>40508</c:v>
                </c:pt>
                <c:pt idx="1061">
                  <c:v>40509</c:v>
                </c:pt>
                <c:pt idx="1062">
                  <c:v>40510</c:v>
                </c:pt>
                <c:pt idx="1063">
                  <c:v>40511</c:v>
                </c:pt>
                <c:pt idx="1064">
                  <c:v>40512</c:v>
                </c:pt>
                <c:pt idx="1065">
                  <c:v>40513</c:v>
                </c:pt>
                <c:pt idx="1066">
                  <c:v>40514</c:v>
                </c:pt>
                <c:pt idx="1067">
                  <c:v>40515</c:v>
                </c:pt>
                <c:pt idx="1068">
                  <c:v>40516</c:v>
                </c:pt>
                <c:pt idx="1069">
                  <c:v>40517</c:v>
                </c:pt>
                <c:pt idx="1070">
                  <c:v>40518</c:v>
                </c:pt>
                <c:pt idx="1071">
                  <c:v>40519</c:v>
                </c:pt>
                <c:pt idx="1072">
                  <c:v>40520</c:v>
                </c:pt>
                <c:pt idx="1073">
                  <c:v>40521</c:v>
                </c:pt>
                <c:pt idx="1074">
                  <c:v>40522</c:v>
                </c:pt>
                <c:pt idx="1075">
                  <c:v>40523</c:v>
                </c:pt>
                <c:pt idx="1076">
                  <c:v>40524</c:v>
                </c:pt>
                <c:pt idx="1077">
                  <c:v>40525</c:v>
                </c:pt>
                <c:pt idx="1078">
                  <c:v>40526</c:v>
                </c:pt>
                <c:pt idx="1079">
                  <c:v>40527</c:v>
                </c:pt>
                <c:pt idx="1080">
                  <c:v>40528</c:v>
                </c:pt>
                <c:pt idx="1081">
                  <c:v>40529</c:v>
                </c:pt>
                <c:pt idx="1082">
                  <c:v>40530</c:v>
                </c:pt>
                <c:pt idx="1083">
                  <c:v>40531</c:v>
                </c:pt>
                <c:pt idx="1084">
                  <c:v>40532</c:v>
                </c:pt>
                <c:pt idx="1085">
                  <c:v>40533</c:v>
                </c:pt>
                <c:pt idx="1086">
                  <c:v>40534</c:v>
                </c:pt>
                <c:pt idx="1087">
                  <c:v>40535</c:v>
                </c:pt>
                <c:pt idx="1088">
                  <c:v>40536</c:v>
                </c:pt>
                <c:pt idx="1089">
                  <c:v>40537</c:v>
                </c:pt>
                <c:pt idx="1090">
                  <c:v>40538</c:v>
                </c:pt>
                <c:pt idx="1091">
                  <c:v>40539</c:v>
                </c:pt>
                <c:pt idx="1092">
                  <c:v>40540</c:v>
                </c:pt>
                <c:pt idx="1093">
                  <c:v>40541</c:v>
                </c:pt>
                <c:pt idx="1094">
                  <c:v>40542</c:v>
                </c:pt>
                <c:pt idx="1095">
                  <c:v>40543</c:v>
                </c:pt>
                <c:pt idx="1096">
                  <c:v>40544</c:v>
                </c:pt>
                <c:pt idx="1097">
                  <c:v>40545</c:v>
                </c:pt>
                <c:pt idx="1098">
                  <c:v>40546</c:v>
                </c:pt>
                <c:pt idx="1099">
                  <c:v>40547</c:v>
                </c:pt>
                <c:pt idx="1100">
                  <c:v>40548</c:v>
                </c:pt>
                <c:pt idx="1101">
                  <c:v>40549</c:v>
                </c:pt>
                <c:pt idx="1102">
                  <c:v>40550</c:v>
                </c:pt>
                <c:pt idx="1103">
                  <c:v>40551</c:v>
                </c:pt>
                <c:pt idx="1104">
                  <c:v>40552</c:v>
                </c:pt>
                <c:pt idx="1105">
                  <c:v>40553</c:v>
                </c:pt>
                <c:pt idx="1106">
                  <c:v>40554</c:v>
                </c:pt>
                <c:pt idx="1107">
                  <c:v>40555</c:v>
                </c:pt>
                <c:pt idx="1108">
                  <c:v>40556</c:v>
                </c:pt>
                <c:pt idx="1109">
                  <c:v>40557</c:v>
                </c:pt>
                <c:pt idx="1110">
                  <c:v>40558</c:v>
                </c:pt>
                <c:pt idx="1111">
                  <c:v>40559</c:v>
                </c:pt>
                <c:pt idx="1112">
                  <c:v>40560</c:v>
                </c:pt>
                <c:pt idx="1113">
                  <c:v>40561</c:v>
                </c:pt>
                <c:pt idx="1114">
                  <c:v>40562</c:v>
                </c:pt>
                <c:pt idx="1115">
                  <c:v>40563</c:v>
                </c:pt>
                <c:pt idx="1116">
                  <c:v>40564</c:v>
                </c:pt>
                <c:pt idx="1117">
                  <c:v>40565</c:v>
                </c:pt>
                <c:pt idx="1118">
                  <c:v>40566</c:v>
                </c:pt>
                <c:pt idx="1119">
                  <c:v>40567</c:v>
                </c:pt>
                <c:pt idx="1120">
                  <c:v>40568</c:v>
                </c:pt>
                <c:pt idx="1121">
                  <c:v>40569</c:v>
                </c:pt>
                <c:pt idx="1122">
                  <c:v>40570</c:v>
                </c:pt>
                <c:pt idx="1123">
                  <c:v>40571</c:v>
                </c:pt>
                <c:pt idx="1124">
                  <c:v>40572</c:v>
                </c:pt>
                <c:pt idx="1125">
                  <c:v>40573</c:v>
                </c:pt>
                <c:pt idx="1126">
                  <c:v>40574</c:v>
                </c:pt>
                <c:pt idx="1127">
                  <c:v>40575</c:v>
                </c:pt>
                <c:pt idx="1128">
                  <c:v>40576</c:v>
                </c:pt>
                <c:pt idx="1129">
                  <c:v>40577</c:v>
                </c:pt>
                <c:pt idx="1130">
                  <c:v>40578</c:v>
                </c:pt>
                <c:pt idx="1131">
                  <c:v>40579</c:v>
                </c:pt>
                <c:pt idx="1132">
                  <c:v>40580</c:v>
                </c:pt>
                <c:pt idx="1133">
                  <c:v>40581</c:v>
                </c:pt>
                <c:pt idx="1134">
                  <c:v>40582</c:v>
                </c:pt>
                <c:pt idx="1135">
                  <c:v>40583</c:v>
                </c:pt>
                <c:pt idx="1136">
                  <c:v>40584</c:v>
                </c:pt>
                <c:pt idx="1137">
                  <c:v>40585</c:v>
                </c:pt>
                <c:pt idx="1138">
                  <c:v>40586</c:v>
                </c:pt>
                <c:pt idx="1139">
                  <c:v>40587</c:v>
                </c:pt>
                <c:pt idx="1140">
                  <c:v>40588</c:v>
                </c:pt>
                <c:pt idx="1141">
                  <c:v>40589</c:v>
                </c:pt>
                <c:pt idx="1142">
                  <c:v>40590</c:v>
                </c:pt>
                <c:pt idx="1143">
                  <c:v>40591</c:v>
                </c:pt>
                <c:pt idx="1144">
                  <c:v>40592</c:v>
                </c:pt>
                <c:pt idx="1145">
                  <c:v>40593</c:v>
                </c:pt>
                <c:pt idx="1146">
                  <c:v>40594</c:v>
                </c:pt>
                <c:pt idx="1147">
                  <c:v>40595</c:v>
                </c:pt>
                <c:pt idx="1148">
                  <c:v>40596</c:v>
                </c:pt>
                <c:pt idx="1149">
                  <c:v>40597</c:v>
                </c:pt>
                <c:pt idx="1150">
                  <c:v>40598</c:v>
                </c:pt>
                <c:pt idx="1151">
                  <c:v>40599</c:v>
                </c:pt>
                <c:pt idx="1152">
                  <c:v>40600</c:v>
                </c:pt>
                <c:pt idx="1153">
                  <c:v>40601</c:v>
                </c:pt>
                <c:pt idx="1154">
                  <c:v>40602</c:v>
                </c:pt>
                <c:pt idx="1155">
                  <c:v>40603</c:v>
                </c:pt>
                <c:pt idx="1156">
                  <c:v>40604</c:v>
                </c:pt>
                <c:pt idx="1157">
                  <c:v>40605</c:v>
                </c:pt>
                <c:pt idx="1158">
                  <c:v>40606</c:v>
                </c:pt>
                <c:pt idx="1159">
                  <c:v>40607</c:v>
                </c:pt>
                <c:pt idx="1160">
                  <c:v>40608</c:v>
                </c:pt>
                <c:pt idx="1161">
                  <c:v>40609</c:v>
                </c:pt>
                <c:pt idx="1162">
                  <c:v>40610</c:v>
                </c:pt>
                <c:pt idx="1163">
                  <c:v>40611</c:v>
                </c:pt>
                <c:pt idx="1164">
                  <c:v>40612</c:v>
                </c:pt>
                <c:pt idx="1165">
                  <c:v>40613</c:v>
                </c:pt>
                <c:pt idx="1166">
                  <c:v>40614</c:v>
                </c:pt>
                <c:pt idx="1167">
                  <c:v>40615</c:v>
                </c:pt>
                <c:pt idx="1168">
                  <c:v>40616</c:v>
                </c:pt>
                <c:pt idx="1169">
                  <c:v>40617</c:v>
                </c:pt>
                <c:pt idx="1170">
                  <c:v>40618</c:v>
                </c:pt>
                <c:pt idx="1171">
                  <c:v>40619</c:v>
                </c:pt>
                <c:pt idx="1172">
                  <c:v>40620</c:v>
                </c:pt>
                <c:pt idx="1173">
                  <c:v>40621</c:v>
                </c:pt>
                <c:pt idx="1174">
                  <c:v>40622</c:v>
                </c:pt>
                <c:pt idx="1175">
                  <c:v>40623</c:v>
                </c:pt>
                <c:pt idx="1176">
                  <c:v>40624</c:v>
                </c:pt>
                <c:pt idx="1177">
                  <c:v>40625</c:v>
                </c:pt>
                <c:pt idx="1178">
                  <c:v>40626</c:v>
                </c:pt>
                <c:pt idx="1179">
                  <c:v>40627</c:v>
                </c:pt>
                <c:pt idx="1180">
                  <c:v>40628</c:v>
                </c:pt>
                <c:pt idx="1181">
                  <c:v>40629</c:v>
                </c:pt>
                <c:pt idx="1182">
                  <c:v>40630</c:v>
                </c:pt>
                <c:pt idx="1183">
                  <c:v>40631</c:v>
                </c:pt>
                <c:pt idx="1184">
                  <c:v>40632</c:v>
                </c:pt>
                <c:pt idx="1185">
                  <c:v>40633</c:v>
                </c:pt>
                <c:pt idx="1186">
                  <c:v>40634</c:v>
                </c:pt>
                <c:pt idx="1187">
                  <c:v>40635</c:v>
                </c:pt>
                <c:pt idx="1188">
                  <c:v>40636</c:v>
                </c:pt>
                <c:pt idx="1189">
                  <c:v>40637</c:v>
                </c:pt>
                <c:pt idx="1190">
                  <c:v>40638</c:v>
                </c:pt>
                <c:pt idx="1191">
                  <c:v>40639</c:v>
                </c:pt>
                <c:pt idx="1192">
                  <c:v>40640</c:v>
                </c:pt>
                <c:pt idx="1193">
                  <c:v>40641</c:v>
                </c:pt>
                <c:pt idx="1194">
                  <c:v>40642</c:v>
                </c:pt>
                <c:pt idx="1195">
                  <c:v>40643</c:v>
                </c:pt>
                <c:pt idx="1196">
                  <c:v>40644</c:v>
                </c:pt>
                <c:pt idx="1197">
                  <c:v>40645</c:v>
                </c:pt>
                <c:pt idx="1198">
                  <c:v>40646</c:v>
                </c:pt>
                <c:pt idx="1199">
                  <c:v>40647</c:v>
                </c:pt>
                <c:pt idx="1200">
                  <c:v>40648</c:v>
                </c:pt>
                <c:pt idx="1201">
                  <c:v>40649</c:v>
                </c:pt>
                <c:pt idx="1202">
                  <c:v>40650</c:v>
                </c:pt>
                <c:pt idx="1203">
                  <c:v>40651</c:v>
                </c:pt>
                <c:pt idx="1204">
                  <c:v>40652</c:v>
                </c:pt>
                <c:pt idx="1205">
                  <c:v>40653</c:v>
                </c:pt>
                <c:pt idx="1206">
                  <c:v>40654</c:v>
                </c:pt>
                <c:pt idx="1207">
                  <c:v>40655</c:v>
                </c:pt>
                <c:pt idx="1208">
                  <c:v>40656</c:v>
                </c:pt>
                <c:pt idx="1209">
                  <c:v>40657</c:v>
                </c:pt>
                <c:pt idx="1210">
                  <c:v>40658</c:v>
                </c:pt>
                <c:pt idx="1211">
                  <c:v>40659</c:v>
                </c:pt>
                <c:pt idx="1212">
                  <c:v>40660</c:v>
                </c:pt>
                <c:pt idx="1213">
                  <c:v>40661</c:v>
                </c:pt>
                <c:pt idx="1214">
                  <c:v>40662</c:v>
                </c:pt>
                <c:pt idx="1215">
                  <c:v>40663</c:v>
                </c:pt>
                <c:pt idx="1216">
                  <c:v>40664</c:v>
                </c:pt>
                <c:pt idx="1217">
                  <c:v>40665</c:v>
                </c:pt>
                <c:pt idx="1218">
                  <c:v>40666</c:v>
                </c:pt>
                <c:pt idx="1219">
                  <c:v>40667</c:v>
                </c:pt>
                <c:pt idx="1220">
                  <c:v>40668</c:v>
                </c:pt>
                <c:pt idx="1221">
                  <c:v>40669</c:v>
                </c:pt>
                <c:pt idx="1222">
                  <c:v>40670</c:v>
                </c:pt>
                <c:pt idx="1223">
                  <c:v>40671</c:v>
                </c:pt>
                <c:pt idx="1224">
                  <c:v>40672</c:v>
                </c:pt>
                <c:pt idx="1225">
                  <c:v>40673</c:v>
                </c:pt>
                <c:pt idx="1226">
                  <c:v>40674</c:v>
                </c:pt>
                <c:pt idx="1227">
                  <c:v>40675</c:v>
                </c:pt>
                <c:pt idx="1228">
                  <c:v>40676</c:v>
                </c:pt>
                <c:pt idx="1229">
                  <c:v>40677</c:v>
                </c:pt>
                <c:pt idx="1230">
                  <c:v>40678</c:v>
                </c:pt>
                <c:pt idx="1231">
                  <c:v>40679</c:v>
                </c:pt>
                <c:pt idx="1232">
                  <c:v>40680</c:v>
                </c:pt>
                <c:pt idx="1233">
                  <c:v>40681</c:v>
                </c:pt>
                <c:pt idx="1234">
                  <c:v>40682</c:v>
                </c:pt>
                <c:pt idx="1235">
                  <c:v>40683</c:v>
                </c:pt>
                <c:pt idx="1236">
                  <c:v>40684</c:v>
                </c:pt>
                <c:pt idx="1237">
                  <c:v>40685</c:v>
                </c:pt>
                <c:pt idx="1238">
                  <c:v>40686</c:v>
                </c:pt>
                <c:pt idx="1239">
                  <c:v>40687</c:v>
                </c:pt>
                <c:pt idx="1240">
                  <c:v>40688</c:v>
                </c:pt>
                <c:pt idx="1241">
                  <c:v>40689</c:v>
                </c:pt>
                <c:pt idx="1242">
                  <c:v>40690</c:v>
                </c:pt>
                <c:pt idx="1243">
                  <c:v>40691</c:v>
                </c:pt>
                <c:pt idx="1244">
                  <c:v>40692</c:v>
                </c:pt>
                <c:pt idx="1245">
                  <c:v>40693</c:v>
                </c:pt>
                <c:pt idx="1246">
                  <c:v>40694</c:v>
                </c:pt>
                <c:pt idx="1247">
                  <c:v>40695</c:v>
                </c:pt>
                <c:pt idx="1248">
                  <c:v>40696</c:v>
                </c:pt>
                <c:pt idx="1249">
                  <c:v>40697</c:v>
                </c:pt>
                <c:pt idx="1250">
                  <c:v>40698</c:v>
                </c:pt>
                <c:pt idx="1251">
                  <c:v>40699</c:v>
                </c:pt>
                <c:pt idx="1252">
                  <c:v>40700</c:v>
                </c:pt>
                <c:pt idx="1253">
                  <c:v>40701</c:v>
                </c:pt>
                <c:pt idx="1254">
                  <c:v>40702</c:v>
                </c:pt>
                <c:pt idx="1255">
                  <c:v>40703</c:v>
                </c:pt>
                <c:pt idx="1256">
                  <c:v>40704</c:v>
                </c:pt>
                <c:pt idx="1257">
                  <c:v>40705</c:v>
                </c:pt>
                <c:pt idx="1258">
                  <c:v>40706</c:v>
                </c:pt>
                <c:pt idx="1259">
                  <c:v>40707</c:v>
                </c:pt>
                <c:pt idx="1260">
                  <c:v>40708</c:v>
                </c:pt>
                <c:pt idx="1261">
                  <c:v>40709</c:v>
                </c:pt>
                <c:pt idx="1262">
                  <c:v>40710</c:v>
                </c:pt>
                <c:pt idx="1263">
                  <c:v>40711</c:v>
                </c:pt>
                <c:pt idx="1264">
                  <c:v>40712</c:v>
                </c:pt>
                <c:pt idx="1265">
                  <c:v>40713</c:v>
                </c:pt>
                <c:pt idx="1266">
                  <c:v>40714</c:v>
                </c:pt>
                <c:pt idx="1267">
                  <c:v>40715</c:v>
                </c:pt>
                <c:pt idx="1268">
                  <c:v>40716</c:v>
                </c:pt>
                <c:pt idx="1269">
                  <c:v>40717</c:v>
                </c:pt>
                <c:pt idx="1270">
                  <c:v>40718</c:v>
                </c:pt>
                <c:pt idx="1271">
                  <c:v>40719</c:v>
                </c:pt>
                <c:pt idx="1272">
                  <c:v>40720</c:v>
                </c:pt>
                <c:pt idx="1273">
                  <c:v>40721</c:v>
                </c:pt>
                <c:pt idx="1274">
                  <c:v>40722</c:v>
                </c:pt>
                <c:pt idx="1275">
                  <c:v>40723</c:v>
                </c:pt>
                <c:pt idx="1276">
                  <c:v>40724</c:v>
                </c:pt>
                <c:pt idx="1277">
                  <c:v>40725</c:v>
                </c:pt>
                <c:pt idx="1278">
                  <c:v>40726</c:v>
                </c:pt>
                <c:pt idx="1279">
                  <c:v>40727</c:v>
                </c:pt>
                <c:pt idx="1280">
                  <c:v>40728</c:v>
                </c:pt>
                <c:pt idx="1281">
                  <c:v>40729</c:v>
                </c:pt>
                <c:pt idx="1282">
                  <c:v>40730</c:v>
                </c:pt>
                <c:pt idx="1283">
                  <c:v>40731</c:v>
                </c:pt>
                <c:pt idx="1284">
                  <c:v>40732</c:v>
                </c:pt>
                <c:pt idx="1285">
                  <c:v>40733</c:v>
                </c:pt>
                <c:pt idx="1286">
                  <c:v>40734</c:v>
                </c:pt>
                <c:pt idx="1287">
                  <c:v>40735</c:v>
                </c:pt>
                <c:pt idx="1288">
                  <c:v>40736</c:v>
                </c:pt>
                <c:pt idx="1289">
                  <c:v>40737</c:v>
                </c:pt>
                <c:pt idx="1290">
                  <c:v>40738</c:v>
                </c:pt>
                <c:pt idx="1291">
                  <c:v>40739</c:v>
                </c:pt>
                <c:pt idx="1292">
                  <c:v>40740</c:v>
                </c:pt>
                <c:pt idx="1293">
                  <c:v>40741</c:v>
                </c:pt>
                <c:pt idx="1294">
                  <c:v>40742</c:v>
                </c:pt>
                <c:pt idx="1295">
                  <c:v>40743</c:v>
                </c:pt>
                <c:pt idx="1296">
                  <c:v>40744</c:v>
                </c:pt>
                <c:pt idx="1297">
                  <c:v>40745</c:v>
                </c:pt>
                <c:pt idx="1298">
                  <c:v>40746</c:v>
                </c:pt>
                <c:pt idx="1299">
                  <c:v>40747</c:v>
                </c:pt>
                <c:pt idx="1300">
                  <c:v>40748</c:v>
                </c:pt>
                <c:pt idx="1301">
                  <c:v>40749</c:v>
                </c:pt>
                <c:pt idx="1302">
                  <c:v>40750</c:v>
                </c:pt>
                <c:pt idx="1303">
                  <c:v>40751</c:v>
                </c:pt>
                <c:pt idx="1304">
                  <c:v>40752</c:v>
                </c:pt>
                <c:pt idx="1305">
                  <c:v>40753</c:v>
                </c:pt>
                <c:pt idx="1306">
                  <c:v>40754</c:v>
                </c:pt>
                <c:pt idx="1307">
                  <c:v>40755</c:v>
                </c:pt>
                <c:pt idx="1308">
                  <c:v>40756</c:v>
                </c:pt>
                <c:pt idx="1309">
                  <c:v>40757</c:v>
                </c:pt>
                <c:pt idx="1310">
                  <c:v>40758</c:v>
                </c:pt>
                <c:pt idx="1311">
                  <c:v>40759</c:v>
                </c:pt>
                <c:pt idx="1312">
                  <c:v>40760</c:v>
                </c:pt>
                <c:pt idx="1313">
                  <c:v>40761</c:v>
                </c:pt>
                <c:pt idx="1314">
                  <c:v>40762</c:v>
                </c:pt>
                <c:pt idx="1315">
                  <c:v>40763</c:v>
                </c:pt>
                <c:pt idx="1316">
                  <c:v>40764</c:v>
                </c:pt>
                <c:pt idx="1317">
                  <c:v>40765</c:v>
                </c:pt>
                <c:pt idx="1318">
                  <c:v>40766</c:v>
                </c:pt>
                <c:pt idx="1319">
                  <c:v>40767</c:v>
                </c:pt>
                <c:pt idx="1320">
                  <c:v>40768</c:v>
                </c:pt>
                <c:pt idx="1321">
                  <c:v>40769</c:v>
                </c:pt>
                <c:pt idx="1322">
                  <c:v>40770</c:v>
                </c:pt>
                <c:pt idx="1323">
                  <c:v>40771</c:v>
                </c:pt>
                <c:pt idx="1324">
                  <c:v>40772</c:v>
                </c:pt>
                <c:pt idx="1325">
                  <c:v>40773</c:v>
                </c:pt>
                <c:pt idx="1326">
                  <c:v>40774</c:v>
                </c:pt>
                <c:pt idx="1327">
                  <c:v>40775</c:v>
                </c:pt>
                <c:pt idx="1328">
                  <c:v>40776</c:v>
                </c:pt>
                <c:pt idx="1329">
                  <c:v>40777</c:v>
                </c:pt>
                <c:pt idx="1330">
                  <c:v>40778</c:v>
                </c:pt>
                <c:pt idx="1331">
                  <c:v>40779</c:v>
                </c:pt>
                <c:pt idx="1332">
                  <c:v>40780</c:v>
                </c:pt>
                <c:pt idx="1333">
                  <c:v>40781</c:v>
                </c:pt>
                <c:pt idx="1334">
                  <c:v>40782</c:v>
                </c:pt>
                <c:pt idx="1335">
                  <c:v>40783</c:v>
                </c:pt>
                <c:pt idx="1336">
                  <c:v>40784</c:v>
                </c:pt>
                <c:pt idx="1337">
                  <c:v>40785</c:v>
                </c:pt>
                <c:pt idx="1338">
                  <c:v>40786</c:v>
                </c:pt>
                <c:pt idx="1339">
                  <c:v>40787</c:v>
                </c:pt>
                <c:pt idx="1340">
                  <c:v>40788</c:v>
                </c:pt>
                <c:pt idx="1341">
                  <c:v>40789</c:v>
                </c:pt>
                <c:pt idx="1342">
                  <c:v>40790</c:v>
                </c:pt>
                <c:pt idx="1343">
                  <c:v>40791</c:v>
                </c:pt>
                <c:pt idx="1344">
                  <c:v>40792</c:v>
                </c:pt>
                <c:pt idx="1345">
                  <c:v>40793</c:v>
                </c:pt>
                <c:pt idx="1346">
                  <c:v>40794</c:v>
                </c:pt>
                <c:pt idx="1347">
                  <c:v>40795</c:v>
                </c:pt>
                <c:pt idx="1348">
                  <c:v>40796</c:v>
                </c:pt>
                <c:pt idx="1349">
                  <c:v>40797</c:v>
                </c:pt>
                <c:pt idx="1350">
                  <c:v>40798</c:v>
                </c:pt>
                <c:pt idx="1351">
                  <c:v>40799</c:v>
                </c:pt>
                <c:pt idx="1352">
                  <c:v>40800</c:v>
                </c:pt>
                <c:pt idx="1353">
                  <c:v>40801</c:v>
                </c:pt>
                <c:pt idx="1354">
                  <c:v>40802</c:v>
                </c:pt>
                <c:pt idx="1355">
                  <c:v>40803</c:v>
                </c:pt>
                <c:pt idx="1356">
                  <c:v>40804</c:v>
                </c:pt>
                <c:pt idx="1357">
                  <c:v>40805</c:v>
                </c:pt>
                <c:pt idx="1358">
                  <c:v>40806</c:v>
                </c:pt>
                <c:pt idx="1359">
                  <c:v>40807</c:v>
                </c:pt>
                <c:pt idx="1360">
                  <c:v>40808</c:v>
                </c:pt>
                <c:pt idx="1361">
                  <c:v>40809</c:v>
                </c:pt>
                <c:pt idx="1362">
                  <c:v>40810</c:v>
                </c:pt>
                <c:pt idx="1363">
                  <c:v>40811</c:v>
                </c:pt>
                <c:pt idx="1364">
                  <c:v>40812</c:v>
                </c:pt>
                <c:pt idx="1365">
                  <c:v>40813</c:v>
                </c:pt>
                <c:pt idx="1366">
                  <c:v>40814</c:v>
                </c:pt>
                <c:pt idx="1367">
                  <c:v>40815</c:v>
                </c:pt>
                <c:pt idx="1368">
                  <c:v>40816</c:v>
                </c:pt>
                <c:pt idx="1369">
                  <c:v>40817</c:v>
                </c:pt>
                <c:pt idx="1370">
                  <c:v>40818</c:v>
                </c:pt>
                <c:pt idx="1371">
                  <c:v>40819</c:v>
                </c:pt>
                <c:pt idx="1372">
                  <c:v>40820</c:v>
                </c:pt>
                <c:pt idx="1373">
                  <c:v>40821</c:v>
                </c:pt>
                <c:pt idx="1374">
                  <c:v>40822</c:v>
                </c:pt>
                <c:pt idx="1375">
                  <c:v>40823</c:v>
                </c:pt>
                <c:pt idx="1376">
                  <c:v>40824</c:v>
                </c:pt>
                <c:pt idx="1377">
                  <c:v>40825</c:v>
                </c:pt>
                <c:pt idx="1378">
                  <c:v>40826</c:v>
                </c:pt>
                <c:pt idx="1379">
                  <c:v>40827</c:v>
                </c:pt>
                <c:pt idx="1380">
                  <c:v>40828</c:v>
                </c:pt>
                <c:pt idx="1381">
                  <c:v>40829</c:v>
                </c:pt>
                <c:pt idx="1382">
                  <c:v>40830</c:v>
                </c:pt>
                <c:pt idx="1383">
                  <c:v>40831</c:v>
                </c:pt>
                <c:pt idx="1384">
                  <c:v>40832</c:v>
                </c:pt>
                <c:pt idx="1385">
                  <c:v>40833</c:v>
                </c:pt>
                <c:pt idx="1386">
                  <c:v>40834</c:v>
                </c:pt>
                <c:pt idx="1387">
                  <c:v>40835</c:v>
                </c:pt>
                <c:pt idx="1388">
                  <c:v>40836</c:v>
                </c:pt>
                <c:pt idx="1389">
                  <c:v>40837</c:v>
                </c:pt>
                <c:pt idx="1390">
                  <c:v>40838</c:v>
                </c:pt>
                <c:pt idx="1391">
                  <c:v>40839</c:v>
                </c:pt>
                <c:pt idx="1392">
                  <c:v>40840</c:v>
                </c:pt>
                <c:pt idx="1393">
                  <c:v>40841</c:v>
                </c:pt>
                <c:pt idx="1394">
                  <c:v>40842</c:v>
                </c:pt>
                <c:pt idx="1395">
                  <c:v>40843</c:v>
                </c:pt>
                <c:pt idx="1396">
                  <c:v>40844</c:v>
                </c:pt>
                <c:pt idx="1397">
                  <c:v>40845</c:v>
                </c:pt>
                <c:pt idx="1398">
                  <c:v>40846</c:v>
                </c:pt>
                <c:pt idx="1399">
                  <c:v>40847</c:v>
                </c:pt>
                <c:pt idx="1400">
                  <c:v>40848</c:v>
                </c:pt>
                <c:pt idx="1401">
                  <c:v>40849</c:v>
                </c:pt>
                <c:pt idx="1402">
                  <c:v>40850</c:v>
                </c:pt>
                <c:pt idx="1403">
                  <c:v>40851</c:v>
                </c:pt>
                <c:pt idx="1404">
                  <c:v>40852</c:v>
                </c:pt>
                <c:pt idx="1405">
                  <c:v>40853</c:v>
                </c:pt>
                <c:pt idx="1406">
                  <c:v>40854</c:v>
                </c:pt>
                <c:pt idx="1407">
                  <c:v>40855</c:v>
                </c:pt>
                <c:pt idx="1408">
                  <c:v>40856</c:v>
                </c:pt>
                <c:pt idx="1409">
                  <c:v>40857</c:v>
                </c:pt>
                <c:pt idx="1410">
                  <c:v>40858</c:v>
                </c:pt>
                <c:pt idx="1411">
                  <c:v>40859</c:v>
                </c:pt>
                <c:pt idx="1412">
                  <c:v>40860</c:v>
                </c:pt>
                <c:pt idx="1413">
                  <c:v>40861</c:v>
                </c:pt>
                <c:pt idx="1414">
                  <c:v>40862</c:v>
                </c:pt>
                <c:pt idx="1415">
                  <c:v>40863</c:v>
                </c:pt>
                <c:pt idx="1416">
                  <c:v>40864</c:v>
                </c:pt>
                <c:pt idx="1417">
                  <c:v>40865</c:v>
                </c:pt>
                <c:pt idx="1418">
                  <c:v>40866</c:v>
                </c:pt>
                <c:pt idx="1419">
                  <c:v>40867</c:v>
                </c:pt>
                <c:pt idx="1420">
                  <c:v>40868</c:v>
                </c:pt>
                <c:pt idx="1421">
                  <c:v>40869</c:v>
                </c:pt>
                <c:pt idx="1422">
                  <c:v>40870</c:v>
                </c:pt>
                <c:pt idx="1423">
                  <c:v>40871</c:v>
                </c:pt>
                <c:pt idx="1424">
                  <c:v>40872</c:v>
                </c:pt>
                <c:pt idx="1425">
                  <c:v>40873</c:v>
                </c:pt>
                <c:pt idx="1426">
                  <c:v>40874</c:v>
                </c:pt>
                <c:pt idx="1427">
                  <c:v>40875</c:v>
                </c:pt>
                <c:pt idx="1428">
                  <c:v>40876</c:v>
                </c:pt>
                <c:pt idx="1429">
                  <c:v>40877</c:v>
                </c:pt>
                <c:pt idx="1430">
                  <c:v>40878</c:v>
                </c:pt>
                <c:pt idx="1431">
                  <c:v>40879</c:v>
                </c:pt>
                <c:pt idx="1432">
                  <c:v>40880</c:v>
                </c:pt>
                <c:pt idx="1433">
                  <c:v>40881</c:v>
                </c:pt>
                <c:pt idx="1434">
                  <c:v>40882</c:v>
                </c:pt>
                <c:pt idx="1435">
                  <c:v>40883</c:v>
                </c:pt>
                <c:pt idx="1436">
                  <c:v>40884</c:v>
                </c:pt>
                <c:pt idx="1437">
                  <c:v>40885</c:v>
                </c:pt>
                <c:pt idx="1438">
                  <c:v>40886</c:v>
                </c:pt>
                <c:pt idx="1439">
                  <c:v>40887</c:v>
                </c:pt>
                <c:pt idx="1440">
                  <c:v>40888</c:v>
                </c:pt>
                <c:pt idx="1441">
                  <c:v>40889</c:v>
                </c:pt>
                <c:pt idx="1442">
                  <c:v>40890</c:v>
                </c:pt>
                <c:pt idx="1443">
                  <c:v>40891</c:v>
                </c:pt>
                <c:pt idx="1444">
                  <c:v>40892</c:v>
                </c:pt>
                <c:pt idx="1445">
                  <c:v>40893</c:v>
                </c:pt>
                <c:pt idx="1446">
                  <c:v>40894</c:v>
                </c:pt>
                <c:pt idx="1447">
                  <c:v>40895</c:v>
                </c:pt>
                <c:pt idx="1448">
                  <c:v>40896</c:v>
                </c:pt>
                <c:pt idx="1449">
                  <c:v>40897</c:v>
                </c:pt>
                <c:pt idx="1450">
                  <c:v>40898</c:v>
                </c:pt>
                <c:pt idx="1451">
                  <c:v>40899</c:v>
                </c:pt>
                <c:pt idx="1452">
                  <c:v>40900</c:v>
                </c:pt>
                <c:pt idx="1453">
                  <c:v>40901</c:v>
                </c:pt>
                <c:pt idx="1454">
                  <c:v>40902</c:v>
                </c:pt>
                <c:pt idx="1455">
                  <c:v>40903</c:v>
                </c:pt>
                <c:pt idx="1456">
                  <c:v>40904</c:v>
                </c:pt>
                <c:pt idx="1457">
                  <c:v>40905</c:v>
                </c:pt>
                <c:pt idx="1458">
                  <c:v>40906</c:v>
                </c:pt>
                <c:pt idx="1459">
                  <c:v>40907</c:v>
                </c:pt>
                <c:pt idx="1460">
                  <c:v>40908</c:v>
                </c:pt>
                <c:pt idx="1461">
                  <c:v>40909</c:v>
                </c:pt>
                <c:pt idx="1462">
                  <c:v>40910</c:v>
                </c:pt>
                <c:pt idx="1463">
                  <c:v>40911</c:v>
                </c:pt>
                <c:pt idx="1464">
                  <c:v>40912</c:v>
                </c:pt>
                <c:pt idx="1465">
                  <c:v>40913</c:v>
                </c:pt>
                <c:pt idx="1466">
                  <c:v>40914</c:v>
                </c:pt>
                <c:pt idx="1467">
                  <c:v>40915</c:v>
                </c:pt>
                <c:pt idx="1468">
                  <c:v>40916</c:v>
                </c:pt>
                <c:pt idx="1469">
                  <c:v>40917</c:v>
                </c:pt>
                <c:pt idx="1470">
                  <c:v>40918</c:v>
                </c:pt>
                <c:pt idx="1471">
                  <c:v>40919</c:v>
                </c:pt>
                <c:pt idx="1472">
                  <c:v>40920</c:v>
                </c:pt>
                <c:pt idx="1473">
                  <c:v>40921</c:v>
                </c:pt>
                <c:pt idx="1474">
                  <c:v>40922</c:v>
                </c:pt>
                <c:pt idx="1475">
                  <c:v>40923</c:v>
                </c:pt>
                <c:pt idx="1476">
                  <c:v>40924</c:v>
                </c:pt>
                <c:pt idx="1477">
                  <c:v>40925</c:v>
                </c:pt>
                <c:pt idx="1478">
                  <c:v>40926</c:v>
                </c:pt>
                <c:pt idx="1479">
                  <c:v>40927</c:v>
                </c:pt>
                <c:pt idx="1480">
                  <c:v>40928</c:v>
                </c:pt>
                <c:pt idx="1481">
                  <c:v>40929</c:v>
                </c:pt>
                <c:pt idx="1482">
                  <c:v>40930</c:v>
                </c:pt>
                <c:pt idx="1483">
                  <c:v>40931</c:v>
                </c:pt>
                <c:pt idx="1484">
                  <c:v>40932</c:v>
                </c:pt>
                <c:pt idx="1485">
                  <c:v>40933</c:v>
                </c:pt>
                <c:pt idx="1486">
                  <c:v>40934</c:v>
                </c:pt>
                <c:pt idx="1487">
                  <c:v>40935</c:v>
                </c:pt>
                <c:pt idx="1488">
                  <c:v>40936</c:v>
                </c:pt>
                <c:pt idx="1489">
                  <c:v>40937</c:v>
                </c:pt>
                <c:pt idx="1490">
                  <c:v>40938</c:v>
                </c:pt>
                <c:pt idx="1491">
                  <c:v>40939</c:v>
                </c:pt>
                <c:pt idx="1492">
                  <c:v>40940</c:v>
                </c:pt>
                <c:pt idx="1493">
                  <c:v>40941</c:v>
                </c:pt>
                <c:pt idx="1494">
                  <c:v>40942</c:v>
                </c:pt>
                <c:pt idx="1495">
                  <c:v>40943</c:v>
                </c:pt>
                <c:pt idx="1496">
                  <c:v>40944</c:v>
                </c:pt>
                <c:pt idx="1497">
                  <c:v>40945</c:v>
                </c:pt>
                <c:pt idx="1498">
                  <c:v>40946</c:v>
                </c:pt>
                <c:pt idx="1499">
                  <c:v>40947</c:v>
                </c:pt>
                <c:pt idx="1500">
                  <c:v>40948</c:v>
                </c:pt>
                <c:pt idx="1501">
                  <c:v>40949</c:v>
                </c:pt>
                <c:pt idx="1502">
                  <c:v>40950</c:v>
                </c:pt>
                <c:pt idx="1503">
                  <c:v>40951</c:v>
                </c:pt>
                <c:pt idx="1504">
                  <c:v>40952</c:v>
                </c:pt>
                <c:pt idx="1505">
                  <c:v>40953</c:v>
                </c:pt>
                <c:pt idx="1506">
                  <c:v>40954</c:v>
                </c:pt>
                <c:pt idx="1507">
                  <c:v>40955</c:v>
                </c:pt>
                <c:pt idx="1508">
                  <c:v>40956</c:v>
                </c:pt>
                <c:pt idx="1509">
                  <c:v>40957</c:v>
                </c:pt>
                <c:pt idx="1510">
                  <c:v>40958</c:v>
                </c:pt>
                <c:pt idx="1511">
                  <c:v>40959</c:v>
                </c:pt>
                <c:pt idx="1512">
                  <c:v>40960</c:v>
                </c:pt>
                <c:pt idx="1513">
                  <c:v>40961</c:v>
                </c:pt>
                <c:pt idx="1514">
                  <c:v>40962</c:v>
                </c:pt>
                <c:pt idx="1515">
                  <c:v>40963</c:v>
                </c:pt>
                <c:pt idx="1516">
                  <c:v>40964</c:v>
                </c:pt>
                <c:pt idx="1517">
                  <c:v>40965</c:v>
                </c:pt>
                <c:pt idx="1518">
                  <c:v>40966</c:v>
                </c:pt>
                <c:pt idx="1519">
                  <c:v>40967</c:v>
                </c:pt>
                <c:pt idx="1520">
                  <c:v>40968</c:v>
                </c:pt>
                <c:pt idx="1521">
                  <c:v>40969</c:v>
                </c:pt>
                <c:pt idx="1522">
                  <c:v>40970</c:v>
                </c:pt>
                <c:pt idx="1523">
                  <c:v>40971</c:v>
                </c:pt>
                <c:pt idx="1524">
                  <c:v>40972</c:v>
                </c:pt>
                <c:pt idx="1525">
                  <c:v>40973</c:v>
                </c:pt>
                <c:pt idx="1526">
                  <c:v>40974</c:v>
                </c:pt>
                <c:pt idx="1527">
                  <c:v>40975</c:v>
                </c:pt>
                <c:pt idx="1528">
                  <c:v>40976</c:v>
                </c:pt>
                <c:pt idx="1529">
                  <c:v>40977</c:v>
                </c:pt>
                <c:pt idx="1530">
                  <c:v>40978</c:v>
                </c:pt>
                <c:pt idx="1531">
                  <c:v>40979</c:v>
                </c:pt>
                <c:pt idx="1532">
                  <c:v>40980</c:v>
                </c:pt>
                <c:pt idx="1533">
                  <c:v>40981</c:v>
                </c:pt>
                <c:pt idx="1534">
                  <c:v>40982</c:v>
                </c:pt>
                <c:pt idx="1535">
                  <c:v>40983</c:v>
                </c:pt>
                <c:pt idx="1536">
                  <c:v>40984</c:v>
                </c:pt>
                <c:pt idx="1537">
                  <c:v>40985</c:v>
                </c:pt>
                <c:pt idx="1538">
                  <c:v>40986</c:v>
                </c:pt>
                <c:pt idx="1539">
                  <c:v>40987</c:v>
                </c:pt>
                <c:pt idx="1540">
                  <c:v>40988</c:v>
                </c:pt>
                <c:pt idx="1541">
                  <c:v>40989</c:v>
                </c:pt>
                <c:pt idx="1542">
                  <c:v>40990</c:v>
                </c:pt>
                <c:pt idx="1543">
                  <c:v>40991</c:v>
                </c:pt>
                <c:pt idx="1544">
                  <c:v>40992</c:v>
                </c:pt>
                <c:pt idx="1545">
                  <c:v>40993</c:v>
                </c:pt>
                <c:pt idx="1546">
                  <c:v>40994</c:v>
                </c:pt>
                <c:pt idx="1547">
                  <c:v>40995</c:v>
                </c:pt>
                <c:pt idx="1548">
                  <c:v>40996</c:v>
                </c:pt>
                <c:pt idx="1549">
                  <c:v>40997</c:v>
                </c:pt>
                <c:pt idx="1550">
                  <c:v>40998</c:v>
                </c:pt>
                <c:pt idx="1551">
                  <c:v>40999</c:v>
                </c:pt>
                <c:pt idx="1552">
                  <c:v>41000</c:v>
                </c:pt>
                <c:pt idx="1553">
                  <c:v>41001</c:v>
                </c:pt>
                <c:pt idx="1554">
                  <c:v>41002</c:v>
                </c:pt>
                <c:pt idx="1555">
                  <c:v>41003</c:v>
                </c:pt>
                <c:pt idx="1556">
                  <c:v>41004</c:v>
                </c:pt>
                <c:pt idx="1557">
                  <c:v>41005</c:v>
                </c:pt>
                <c:pt idx="1558">
                  <c:v>41006</c:v>
                </c:pt>
                <c:pt idx="1559">
                  <c:v>41007</c:v>
                </c:pt>
                <c:pt idx="1560">
                  <c:v>41008</c:v>
                </c:pt>
                <c:pt idx="1561">
                  <c:v>41009</c:v>
                </c:pt>
                <c:pt idx="1562">
                  <c:v>41010</c:v>
                </c:pt>
                <c:pt idx="1563">
                  <c:v>41011</c:v>
                </c:pt>
                <c:pt idx="1564">
                  <c:v>41012</c:v>
                </c:pt>
                <c:pt idx="1565">
                  <c:v>41013</c:v>
                </c:pt>
                <c:pt idx="1566">
                  <c:v>41014</c:v>
                </c:pt>
                <c:pt idx="1567">
                  <c:v>41015</c:v>
                </c:pt>
                <c:pt idx="1568">
                  <c:v>41016</c:v>
                </c:pt>
                <c:pt idx="1569">
                  <c:v>41017</c:v>
                </c:pt>
                <c:pt idx="1570">
                  <c:v>41018</c:v>
                </c:pt>
                <c:pt idx="1571">
                  <c:v>41019</c:v>
                </c:pt>
                <c:pt idx="1572">
                  <c:v>41020</c:v>
                </c:pt>
                <c:pt idx="1573">
                  <c:v>41021</c:v>
                </c:pt>
                <c:pt idx="1574">
                  <c:v>41022</c:v>
                </c:pt>
                <c:pt idx="1575">
                  <c:v>41023</c:v>
                </c:pt>
                <c:pt idx="1576">
                  <c:v>41024</c:v>
                </c:pt>
                <c:pt idx="1577">
                  <c:v>41025</c:v>
                </c:pt>
                <c:pt idx="1578">
                  <c:v>41026</c:v>
                </c:pt>
                <c:pt idx="1579">
                  <c:v>41027</c:v>
                </c:pt>
                <c:pt idx="1580">
                  <c:v>41028</c:v>
                </c:pt>
                <c:pt idx="1581">
                  <c:v>41029</c:v>
                </c:pt>
                <c:pt idx="1582">
                  <c:v>41030</c:v>
                </c:pt>
                <c:pt idx="1583">
                  <c:v>41031</c:v>
                </c:pt>
                <c:pt idx="1584">
                  <c:v>41032</c:v>
                </c:pt>
                <c:pt idx="1585">
                  <c:v>41033</c:v>
                </c:pt>
                <c:pt idx="1586">
                  <c:v>41034</c:v>
                </c:pt>
                <c:pt idx="1587">
                  <c:v>41035</c:v>
                </c:pt>
                <c:pt idx="1588">
                  <c:v>41036</c:v>
                </c:pt>
                <c:pt idx="1589">
                  <c:v>41037</c:v>
                </c:pt>
                <c:pt idx="1590">
                  <c:v>41038</c:v>
                </c:pt>
                <c:pt idx="1591">
                  <c:v>41039</c:v>
                </c:pt>
                <c:pt idx="1592">
                  <c:v>41040</c:v>
                </c:pt>
                <c:pt idx="1593">
                  <c:v>41041</c:v>
                </c:pt>
                <c:pt idx="1594">
                  <c:v>41042</c:v>
                </c:pt>
                <c:pt idx="1595">
                  <c:v>41043</c:v>
                </c:pt>
                <c:pt idx="1596">
                  <c:v>41044</c:v>
                </c:pt>
                <c:pt idx="1597">
                  <c:v>41045</c:v>
                </c:pt>
                <c:pt idx="1598">
                  <c:v>41046</c:v>
                </c:pt>
                <c:pt idx="1599">
                  <c:v>41047</c:v>
                </c:pt>
                <c:pt idx="1600">
                  <c:v>41048</c:v>
                </c:pt>
                <c:pt idx="1601">
                  <c:v>41049</c:v>
                </c:pt>
                <c:pt idx="1602">
                  <c:v>41050</c:v>
                </c:pt>
                <c:pt idx="1603">
                  <c:v>41051</c:v>
                </c:pt>
                <c:pt idx="1604">
                  <c:v>41052</c:v>
                </c:pt>
                <c:pt idx="1605">
                  <c:v>41053</c:v>
                </c:pt>
                <c:pt idx="1606">
                  <c:v>41054</c:v>
                </c:pt>
                <c:pt idx="1607">
                  <c:v>41055</c:v>
                </c:pt>
                <c:pt idx="1608">
                  <c:v>41056</c:v>
                </c:pt>
                <c:pt idx="1609">
                  <c:v>41057</c:v>
                </c:pt>
                <c:pt idx="1610">
                  <c:v>41058</c:v>
                </c:pt>
                <c:pt idx="1611">
                  <c:v>41059</c:v>
                </c:pt>
                <c:pt idx="1612">
                  <c:v>41060</c:v>
                </c:pt>
                <c:pt idx="1613">
                  <c:v>41061</c:v>
                </c:pt>
                <c:pt idx="1614">
                  <c:v>41062</c:v>
                </c:pt>
                <c:pt idx="1615">
                  <c:v>41063</c:v>
                </c:pt>
                <c:pt idx="1616">
                  <c:v>41064</c:v>
                </c:pt>
                <c:pt idx="1617">
                  <c:v>41065</c:v>
                </c:pt>
                <c:pt idx="1618">
                  <c:v>41066</c:v>
                </c:pt>
                <c:pt idx="1619">
                  <c:v>41067</c:v>
                </c:pt>
                <c:pt idx="1620">
                  <c:v>41068</c:v>
                </c:pt>
                <c:pt idx="1621">
                  <c:v>41069</c:v>
                </c:pt>
                <c:pt idx="1622">
                  <c:v>41070</c:v>
                </c:pt>
                <c:pt idx="1623">
                  <c:v>41071</c:v>
                </c:pt>
                <c:pt idx="1624">
                  <c:v>41072</c:v>
                </c:pt>
                <c:pt idx="1625">
                  <c:v>41073</c:v>
                </c:pt>
                <c:pt idx="1626">
                  <c:v>41074</c:v>
                </c:pt>
                <c:pt idx="1627">
                  <c:v>41075</c:v>
                </c:pt>
                <c:pt idx="1628">
                  <c:v>41076</c:v>
                </c:pt>
                <c:pt idx="1629">
                  <c:v>41077</c:v>
                </c:pt>
                <c:pt idx="1630">
                  <c:v>41078</c:v>
                </c:pt>
                <c:pt idx="1631">
                  <c:v>41079</c:v>
                </c:pt>
                <c:pt idx="1632">
                  <c:v>41080</c:v>
                </c:pt>
                <c:pt idx="1633">
                  <c:v>41081</c:v>
                </c:pt>
                <c:pt idx="1634">
                  <c:v>41082</c:v>
                </c:pt>
                <c:pt idx="1635">
                  <c:v>41083</c:v>
                </c:pt>
                <c:pt idx="1636">
                  <c:v>41084</c:v>
                </c:pt>
                <c:pt idx="1637">
                  <c:v>41085</c:v>
                </c:pt>
                <c:pt idx="1638">
                  <c:v>41086</c:v>
                </c:pt>
                <c:pt idx="1639">
                  <c:v>41087</c:v>
                </c:pt>
                <c:pt idx="1640">
                  <c:v>41088</c:v>
                </c:pt>
                <c:pt idx="1641">
                  <c:v>41089</c:v>
                </c:pt>
                <c:pt idx="1642">
                  <c:v>41090</c:v>
                </c:pt>
                <c:pt idx="1643">
                  <c:v>41091</c:v>
                </c:pt>
                <c:pt idx="1644">
                  <c:v>41092</c:v>
                </c:pt>
                <c:pt idx="1645">
                  <c:v>41093</c:v>
                </c:pt>
                <c:pt idx="1646">
                  <c:v>41094</c:v>
                </c:pt>
                <c:pt idx="1647">
                  <c:v>41095</c:v>
                </c:pt>
                <c:pt idx="1648">
                  <c:v>41096</c:v>
                </c:pt>
                <c:pt idx="1649">
                  <c:v>41097</c:v>
                </c:pt>
                <c:pt idx="1650">
                  <c:v>41098</c:v>
                </c:pt>
                <c:pt idx="1651">
                  <c:v>41099</c:v>
                </c:pt>
                <c:pt idx="1652">
                  <c:v>41100</c:v>
                </c:pt>
                <c:pt idx="1653">
                  <c:v>41101</c:v>
                </c:pt>
                <c:pt idx="1654">
                  <c:v>41102</c:v>
                </c:pt>
                <c:pt idx="1655">
                  <c:v>41103</c:v>
                </c:pt>
                <c:pt idx="1656">
                  <c:v>41104</c:v>
                </c:pt>
                <c:pt idx="1657">
                  <c:v>41105</c:v>
                </c:pt>
                <c:pt idx="1658">
                  <c:v>41106</c:v>
                </c:pt>
                <c:pt idx="1659">
                  <c:v>41107</c:v>
                </c:pt>
                <c:pt idx="1660">
                  <c:v>41108</c:v>
                </c:pt>
                <c:pt idx="1661">
                  <c:v>41109</c:v>
                </c:pt>
                <c:pt idx="1662">
                  <c:v>41110</c:v>
                </c:pt>
                <c:pt idx="1663">
                  <c:v>41111</c:v>
                </c:pt>
                <c:pt idx="1664">
                  <c:v>41112</c:v>
                </c:pt>
                <c:pt idx="1665">
                  <c:v>41113</c:v>
                </c:pt>
                <c:pt idx="1666">
                  <c:v>41114</c:v>
                </c:pt>
                <c:pt idx="1667">
                  <c:v>41115</c:v>
                </c:pt>
                <c:pt idx="1668">
                  <c:v>41116</c:v>
                </c:pt>
                <c:pt idx="1669">
                  <c:v>41117</c:v>
                </c:pt>
                <c:pt idx="1670">
                  <c:v>41118</c:v>
                </c:pt>
                <c:pt idx="1671">
                  <c:v>41119</c:v>
                </c:pt>
                <c:pt idx="1672">
                  <c:v>41120</c:v>
                </c:pt>
                <c:pt idx="1673">
                  <c:v>41121</c:v>
                </c:pt>
                <c:pt idx="1674">
                  <c:v>41122</c:v>
                </c:pt>
                <c:pt idx="1675">
                  <c:v>41123</c:v>
                </c:pt>
                <c:pt idx="1676">
                  <c:v>41124</c:v>
                </c:pt>
                <c:pt idx="1677">
                  <c:v>41125</c:v>
                </c:pt>
                <c:pt idx="1678">
                  <c:v>41126</c:v>
                </c:pt>
                <c:pt idx="1679">
                  <c:v>41127</c:v>
                </c:pt>
                <c:pt idx="1680">
                  <c:v>41128</c:v>
                </c:pt>
                <c:pt idx="1681">
                  <c:v>41129</c:v>
                </c:pt>
                <c:pt idx="1682">
                  <c:v>41130</c:v>
                </c:pt>
                <c:pt idx="1683">
                  <c:v>41131</c:v>
                </c:pt>
                <c:pt idx="1684">
                  <c:v>41132</c:v>
                </c:pt>
                <c:pt idx="1685">
                  <c:v>41133</c:v>
                </c:pt>
                <c:pt idx="1686">
                  <c:v>41134</c:v>
                </c:pt>
                <c:pt idx="1687">
                  <c:v>41135</c:v>
                </c:pt>
                <c:pt idx="1688">
                  <c:v>41136</c:v>
                </c:pt>
                <c:pt idx="1689">
                  <c:v>41137</c:v>
                </c:pt>
                <c:pt idx="1690">
                  <c:v>41138</c:v>
                </c:pt>
                <c:pt idx="1691">
                  <c:v>41139</c:v>
                </c:pt>
                <c:pt idx="1692">
                  <c:v>41140</c:v>
                </c:pt>
                <c:pt idx="1693">
                  <c:v>41141</c:v>
                </c:pt>
                <c:pt idx="1694">
                  <c:v>41142</c:v>
                </c:pt>
                <c:pt idx="1695">
                  <c:v>41143</c:v>
                </c:pt>
                <c:pt idx="1696">
                  <c:v>41144</c:v>
                </c:pt>
                <c:pt idx="1697">
                  <c:v>41145</c:v>
                </c:pt>
                <c:pt idx="1698">
                  <c:v>41146</c:v>
                </c:pt>
                <c:pt idx="1699">
                  <c:v>41147</c:v>
                </c:pt>
                <c:pt idx="1700">
                  <c:v>41148</c:v>
                </c:pt>
                <c:pt idx="1701">
                  <c:v>41149</c:v>
                </c:pt>
                <c:pt idx="1702">
                  <c:v>41150</c:v>
                </c:pt>
                <c:pt idx="1703">
                  <c:v>41151</c:v>
                </c:pt>
                <c:pt idx="1704">
                  <c:v>41152</c:v>
                </c:pt>
                <c:pt idx="1705">
                  <c:v>41153</c:v>
                </c:pt>
                <c:pt idx="1706">
                  <c:v>41154</c:v>
                </c:pt>
                <c:pt idx="1707">
                  <c:v>41155</c:v>
                </c:pt>
                <c:pt idx="1708">
                  <c:v>41156</c:v>
                </c:pt>
                <c:pt idx="1709">
                  <c:v>41157</c:v>
                </c:pt>
                <c:pt idx="1710">
                  <c:v>41158</c:v>
                </c:pt>
                <c:pt idx="1711">
                  <c:v>41159</c:v>
                </c:pt>
                <c:pt idx="1712">
                  <c:v>41160</c:v>
                </c:pt>
                <c:pt idx="1713">
                  <c:v>41161</c:v>
                </c:pt>
                <c:pt idx="1714">
                  <c:v>41162</c:v>
                </c:pt>
                <c:pt idx="1715">
                  <c:v>41163</c:v>
                </c:pt>
                <c:pt idx="1716">
                  <c:v>41164</c:v>
                </c:pt>
                <c:pt idx="1717">
                  <c:v>41165</c:v>
                </c:pt>
                <c:pt idx="1718">
                  <c:v>41166</c:v>
                </c:pt>
                <c:pt idx="1719">
                  <c:v>41167</c:v>
                </c:pt>
                <c:pt idx="1720">
                  <c:v>41168</c:v>
                </c:pt>
                <c:pt idx="1721">
                  <c:v>41169</c:v>
                </c:pt>
                <c:pt idx="1722">
                  <c:v>41170</c:v>
                </c:pt>
                <c:pt idx="1723">
                  <c:v>41171</c:v>
                </c:pt>
                <c:pt idx="1724">
                  <c:v>41172</c:v>
                </c:pt>
                <c:pt idx="1725">
                  <c:v>41173</c:v>
                </c:pt>
                <c:pt idx="1726">
                  <c:v>41174</c:v>
                </c:pt>
                <c:pt idx="1727">
                  <c:v>41175</c:v>
                </c:pt>
                <c:pt idx="1728">
                  <c:v>41176</c:v>
                </c:pt>
                <c:pt idx="1729">
                  <c:v>41177</c:v>
                </c:pt>
                <c:pt idx="1730">
                  <c:v>41178</c:v>
                </c:pt>
                <c:pt idx="1731">
                  <c:v>41179</c:v>
                </c:pt>
                <c:pt idx="1732">
                  <c:v>41180</c:v>
                </c:pt>
                <c:pt idx="1733">
                  <c:v>41181</c:v>
                </c:pt>
                <c:pt idx="1734">
                  <c:v>41182</c:v>
                </c:pt>
                <c:pt idx="1735">
                  <c:v>41183</c:v>
                </c:pt>
                <c:pt idx="1736">
                  <c:v>41184</c:v>
                </c:pt>
                <c:pt idx="1737">
                  <c:v>41185</c:v>
                </c:pt>
                <c:pt idx="1738">
                  <c:v>41186</c:v>
                </c:pt>
                <c:pt idx="1739">
                  <c:v>41187</c:v>
                </c:pt>
                <c:pt idx="1740">
                  <c:v>41188</c:v>
                </c:pt>
                <c:pt idx="1741">
                  <c:v>41189</c:v>
                </c:pt>
                <c:pt idx="1742">
                  <c:v>41190</c:v>
                </c:pt>
                <c:pt idx="1743">
                  <c:v>41191</c:v>
                </c:pt>
                <c:pt idx="1744">
                  <c:v>41192</c:v>
                </c:pt>
                <c:pt idx="1745">
                  <c:v>41193</c:v>
                </c:pt>
                <c:pt idx="1746">
                  <c:v>41194</c:v>
                </c:pt>
                <c:pt idx="1747">
                  <c:v>41195</c:v>
                </c:pt>
                <c:pt idx="1748">
                  <c:v>41196</c:v>
                </c:pt>
                <c:pt idx="1749">
                  <c:v>41197</c:v>
                </c:pt>
                <c:pt idx="1750">
                  <c:v>41198</c:v>
                </c:pt>
                <c:pt idx="1751">
                  <c:v>41199</c:v>
                </c:pt>
                <c:pt idx="1752">
                  <c:v>41200</c:v>
                </c:pt>
                <c:pt idx="1753">
                  <c:v>41201</c:v>
                </c:pt>
                <c:pt idx="1754">
                  <c:v>41202</c:v>
                </c:pt>
                <c:pt idx="1755">
                  <c:v>41203</c:v>
                </c:pt>
                <c:pt idx="1756">
                  <c:v>41204</c:v>
                </c:pt>
                <c:pt idx="1757">
                  <c:v>41205</c:v>
                </c:pt>
                <c:pt idx="1758">
                  <c:v>41206</c:v>
                </c:pt>
                <c:pt idx="1759">
                  <c:v>41207</c:v>
                </c:pt>
                <c:pt idx="1760">
                  <c:v>41208</c:v>
                </c:pt>
                <c:pt idx="1761">
                  <c:v>41209</c:v>
                </c:pt>
                <c:pt idx="1762">
                  <c:v>41210</c:v>
                </c:pt>
                <c:pt idx="1763">
                  <c:v>41211</c:v>
                </c:pt>
                <c:pt idx="1764">
                  <c:v>41212</c:v>
                </c:pt>
                <c:pt idx="1765">
                  <c:v>41213</c:v>
                </c:pt>
                <c:pt idx="1766">
                  <c:v>41214</c:v>
                </c:pt>
                <c:pt idx="1767">
                  <c:v>41215</c:v>
                </c:pt>
                <c:pt idx="1768">
                  <c:v>41216</c:v>
                </c:pt>
                <c:pt idx="1769">
                  <c:v>41217</c:v>
                </c:pt>
                <c:pt idx="1770">
                  <c:v>41218</c:v>
                </c:pt>
                <c:pt idx="1771">
                  <c:v>41219</c:v>
                </c:pt>
                <c:pt idx="1772">
                  <c:v>41220</c:v>
                </c:pt>
                <c:pt idx="1773">
                  <c:v>41221</c:v>
                </c:pt>
                <c:pt idx="1774">
                  <c:v>41222</c:v>
                </c:pt>
                <c:pt idx="1775">
                  <c:v>41223</c:v>
                </c:pt>
                <c:pt idx="1776">
                  <c:v>41224</c:v>
                </c:pt>
                <c:pt idx="1777">
                  <c:v>41225</c:v>
                </c:pt>
                <c:pt idx="1778">
                  <c:v>41226</c:v>
                </c:pt>
                <c:pt idx="1779">
                  <c:v>41227</c:v>
                </c:pt>
                <c:pt idx="1780">
                  <c:v>41228</c:v>
                </c:pt>
                <c:pt idx="1781">
                  <c:v>41229</c:v>
                </c:pt>
                <c:pt idx="1782">
                  <c:v>41230</c:v>
                </c:pt>
                <c:pt idx="1783">
                  <c:v>41231</c:v>
                </c:pt>
                <c:pt idx="1784">
                  <c:v>41232</c:v>
                </c:pt>
                <c:pt idx="1785">
                  <c:v>41233</c:v>
                </c:pt>
                <c:pt idx="1786">
                  <c:v>41234</c:v>
                </c:pt>
                <c:pt idx="1787">
                  <c:v>41235</c:v>
                </c:pt>
                <c:pt idx="1788">
                  <c:v>41236</c:v>
                </c:pt>
                <c:pt idx="1789">
                  <c:v>41237</c:v>
                </c:pt>
                <c:pt idx="1790">
                  <c:v>41238</c:v>
                </c:pt>
                <c:pt idx="1791">
                  <c:v>41239</c:v>
                </c:pt>
                <c:pt idx="1792">
                  <c:v>41240</c:v>
                </c:pt>
                <c:pt idx="1793">
                  <c:v>41241</c:v>
                </c:pt>
                <c:pt idx="1794">
                  <c:v>41242</c:v>
                </c:pt>
                <c:pt idx="1795">
                  <c:v>41243</c:v>
                </c:pt>
                <c:pt idx="1796">
                  <c:v>41244</c:v>
                </c:pt>
                <c:pt idx="1797">
                  <c:v>41245</c:v>
                </c:pt>
                <c:pt idx="1798">
                  <c:v>41246</c:v>
                </c:pt>
                <c:pt idx="1799">
                  <c:v>41247</c:v>
                </c:pt>
                <c:pt idx="1800">
                  <c:v>41248</c:v>
                </c:pt>
                <c:pt idx="1801">
                  <c:v>41249</c:v>
                </c:pt>
                <c:pt idx="1802">
                  <c:v>41250</c:v>
                </c:pt>
                <c:pt idx="1803">
                  <c:v>41251</c:v>
                </c:pt>
                <c:pt idx="1804">
                  <c:v>41252</c:v>
                </c:pt>
                <c:pt idx="1805">
                  <c:v>41253</c:v>
                </c:pt>
                <c:pt idx="1806">
                  <c:v>41254</c:v>
                </c:pt>
                <c:pt idx="1807">
                  <c:v>41255</c:v>
                </c:pt>
                <c:pt idx="1808">
                  <c:v>41256</c:v>
                </c:pt>
                <c:pt idx="1809">
                  <c:v>41257</c:v>
                </c:pt>
                <c:pt idx="1810">
                  <c:v>41258</c:v>
                </c:pt>
                <c:pt idx="1811">
                  <c:v>41259</c:v>
                </c:pt>
                <c:pt idx="1812">
                  <c:v>41260</c:v>
                </c:pt>
                <c:pt idx="1813">
                  <c:v>41261</c:v>
                </c:pt>
                <c:pt idx="1814">
                  <c:v>41262</c:v>
                </c:pt>
                <c:pt idx="1815">
                  <c:v>41263</c:v>
                </c:pt>
                <c:pt idx="1816">
                  <c:v>41264</c:v>
                </c:pt>
                <c:pt idx="1817">
                  <c:v>41265</c:v>
                </c:pt>
                <c:pt idx="1818">
                  <c:v>41266</c:v>
                </c:pt>
                <c:pt idx="1819">
                  <c:v>41267</c:v>
                </c:pt>
                <c:pt idx="1820">
                  <c:v>41268</c:v>
                </c:pt>
                <c:pt idx="1821">
                  <c:v>41269</c:v>
                </c:pt>
                <c:pt idx="1822">
                  <c:v>41270</c:v>
                </c:pt>
                <c:pt idx="1823">
                  <c:v>41271</c:v>
                </c:pt>
                <c:pt idx="1824">
                  <c:v>41272</c:v>
                </c:pt>
                <c:pt idx="1825">
                  <c:v>41273</c:v>
                </c:pt>
                <c:pt idx="1826">
                  <c:v>41274</c:v>
                </c:pt>
                <c:pt idx="1827">
                  <c:v>41275</c:v>
                </c:pt>
                <c:pt idx="1828">
                  <c:v>41276</c:v>
                </c:pt>
                <c:pt idx="1829">
                  <c:v>41277</c:v>
                </c:pt>
                <c:pt idx="1830">
                  <c:v>41278</c:v>
                </c:pt>
                <c:pt idx="1831">
                  <c:v>41279</c:v>
                </c:pt>
                <c:pt idx="1832">
                  <c:v>41280</c:v>
                </c:pt>
                <c:pt idx="1833">
                  <c:v>41281</c:v>
                </c:pt>
                <c:pt idx="1834">
                  <c:v>41282</c:v>
                </c:pt>
                <c:pt idx="1835">
                  <c:v>41283</c:v>
                </c:pt>
                <c:pt idx="1836">
                  <c:v>41284</c:v>
                </c:pt>
                <c:pt idx="1837">
                  <c:v>41285</c:v>
                </c:pt>
                <c:pt idx="1838">
                  <c:v>41286</c:v>
                </c:pt>
                <c:pt idx="1839">
                  <c:v>41287</c:v>
                </c:pt>
                <c:pt idx="1840">
                  <c:v>41288</c:v>
                </c:pt>
                <c:pt idx="1841">
                  <c:v>41289</c:v>
                </c:pt>
                <c:pt idx="1842">
                  <c:v>41290</c:v>
                </c:pt>
                <c:pt idx="1843">
                  <c:v>41291</c:v>
                </c:pt>
                <c:pt idx="1844">
                  <c:v>41292</c:v>
                </c:pt>
                <c:pt idx="1845">
                  <c:v>41293</c:v>
                </c:pt>
                <c:pt idx="1846">
                  <c:v>41294</c:v>
                </c:pt>
                <c:pt idx="1847">
                  <c:v>41295</c:v>
                </c:pt>
                <c:pt idx="1848">
                  <c:v>41296</c:v>
                </c:pt>
                <c:pt idx="1849">
                  <c:v>41297</c:v>
                </c:pt>
                <c:pt idx="1850">
                  <c:v>41298</c:v>
                </c:pt>
                <c:pt idx="1851">
                  <c:v>41299</c:v>
                </c:pt>
                <c:pt idx="1852">
                  <c:v>41300</c:v>
                </c:pt>
                <c:pt idx="1853">
                  <c:v>41301</c:v>
                </c:pt>
                <c:pt idx="1854">
                  <c:v>41302</c:v>
                </c:pt>
                <c:pt idx="1855">
                  <c:v>41303</c:v>
                </c:pt>
                <c:pt idx="1856">
                  <c:v>41304</c:v>
                </c:pt>
                <c:pt idx="1857">
                  <c:v>41305</c:v>
                </c:pt>
                <c:pt idx="1858">
                  <c:v>41306</c:v>
                </c:pt>
                <c:pt idx="1859">
                  <c:v>41307</c:v>
                </c:pt>
                <c:pt idx="1860">
                  <c:v>41308</c:v>
                </c:pt>
                <c:pt idx="1861">
                  <c:v>41309</c:v>
                </c:pt>
                <c:pt idx="1862">
                  <c:v>41310</c:v>
                </c:pt>
                <c:pt idx="1863">
                  <c:v>41311</c:v>
                </c:pt>
                <c:pt idx="1864">
                  <c:v>41312</c:v>
                </c:pt>
                <c:pt idx="1865">
                  <c:v>41313</c:v>
                </c:pt>
                <c:pt idx="1866">
                  <c:v>41314</c:v>
                </c:pt>
                <c:pt idx="1867">
                  <c:v>41315</c:v>
                </c:pt>
                <c:pt idx="1868">
                  <c:v>41316</c:v>
                </c:pt>
                <c:pt idx="1869">
                  <c:v>41317</c:v>
                </c:pt>
                <c:pt idx="1870">
                  <c:v>41318</c:v>
                </c:pt>
                <c:pt idx="1871">
                  <c:v>41319</c:v>
                </c:pt>
                <c:pt idx="1872">
                  <c:v>41320</c:v>
                </c:pt>
                <c:pt idx="1873">
                  <c:v>41321</c:v>
                </c:pt>
                <c:pt idx="1874">
                  <c:v>41322</c:v>
                </c:pt>
                <c:pt idx="1875">
                  <c:v>41323</c:v>
                </c:pt>
                <c:pt idx="1876">
                  <c:v>41324</c:v>
                </c:pt>
                <c:pt idx="1877">
                  <c:v>41325</c:v>
                </c:pt>
                <c:pt idx="1878">
                  <c:v>41326</c:v>
                </c:pt>
                <c:pt idx="1879">
                  <c:v>41327</c:v>
                </c:pt>
                <c:pt idx="1880">
                  <c:v>41328</c:v>
                </c:pt>
                <c:pt idx="1881">
                  <c:v>41329</c:v>
                </c:pt>
                <c:pt idx="1882">
                  <c:v>41330</c:v>
                </c:pt>
                <c:pt idx="1883">
                  <c:v>41331</c:v>
                </c:pt>
                <c:pt idx="1884">
                  <c:v>41332</c:v>
                </c:pt>
                <c:pt idx="1885">
                  <c:v>41333</c:v>
                </c:pt>
                <c:pt idx="1886">
                  <c:v>41334</c:v>
                </c:pt>
                <c:pt idx="1887">
                  <c:v>41335</c:v>
                </c:pt>
                <c:pt idx="1888">
                  <c:v>41336</c:v>
                </c:pt>
                <c:pt idx="1889">
                  <c:v>41337</c:v>
                </c:pt>
                <c:pt idx="1890">
                  <c:v>41338</c:v>
                </c:pt>
                <c:pt idx="1891">
                  <c:v>41339</c:v>
                </c:pt>
                <c:pt idx="1892">
                  <c:v>41340</c:v>
                </c:pt>
                <c:pt idx="1893">
                  <c:v>41341</c:v>
                </c:pt>
                <c:pt idx="1894">
                  <c:v>41342</c:v>
                </c:pt>
                <c:pt idx="1895">
                  <c:v>41343</c:v>
                </c:pt>
                <c:pt idx="1896">
                  <c:v>41344</c:v>
                </c:pt>
                <c:pt idx="1897">
                  <c:v>41345</c:v>
                </c:pt>
                <c:pt idx="1898">
                  <c:v>41346</c:v>
                </c:pt>
                <c:pt idx="1899">
                  <c:v>41347</c:v>
                </c:pt>
                <c:pt idx="1900">
                  <c:v>41348</c:v>
                </c:pt>
                <c:pt idx="1901">
                  <c:v>41349</c:v>
                </c:pt>
                <c:pt idx="1902">
                  <c:v>41350</c:v>
                </c:pt>
                <c:pt idx="1903">
                  <c:v>41351</c:v>
                </c:pt>
                <c:pt idx="1904">
                  <c:v>41352</c:v>
                </c:pt>
                <c:pt idx="1905">
                  <c:v>41353</c:v>
                </c:pt>
                <c:pt idx="1906">
                  <c:v>41354</c:v>
                </c:pt>
                <c:pt idx="1907">
                  <c:v>41355</c:v>
                </c:pt>
                <c:pt idx="1908">
                  <c:v>41356</c:v>
                </c:pt>
                <c:pt idx="1909">
                  <c:v>41357</c:v>
                </c:pt>
                <c:pt idx="1910">
                  <c:v>41358</c:v>
                </c:pt>
                <c:pt idx="1911">
                  <c:v>41359</c:v>
                </c:pt>
                <c:pt idx="1912">
                  <c:v>41360</c:v>
                </c:pt>
                <c:pt idx="1913">
                  <c:v>41361</c:v>
                </c:pt>
                <c:pt idx="1914">
                  <c:v>41362</c:v>
                </c:pt>
                <c:pt idx="1915">
                  <c:v>41363</c:v>
                </c:pt>
                <c:pt idx="1916">
                  <c:v>41364</c:v>
                </c:pt>
                <c:pt idx="1917">
                  <c:v>41365</c:v>
                </c:pt>
                <c:pt idx="1918">
                  <c:v>41366</c:v>
                </c:pt>
                <c:pt idx="1919">
                  <c:v>41367</c:v>
                </c:pt>
                <c:pt idx="1920">
                  <c:v>41368</c:v>
                </c:pt>
                <c:pt idx="1921">
                  <c:v>41369</c:v>
                </c:pt>
                <c:pt idx="1922">
                  <c:v>41370</c:v>
                </c:pt>
                <c:pt idx="1923">
                  <c:v>41371</c:v>
                </c:pt>
                <c:pt idx="1924">
                  <c:v>41372</c:v>
                </c:pt>
                <c:pt idx="1925">
                  <c:v>41373</c:v>
                </c:pt>
                <c:pt idx="1926">
                  <c:v>41374</c:v>
                </c:pt>
                <c:pt idx="1927">
                  <c:v>41375</c:v>
                </c:pt>
                <c:pt idx="1928">
                  <c:v>41376</c:v>
                </c:pt>
                <c:pt idx="1929">
                  <c:v>41377</c:v>
                </c:pt>
                <c:pt idx="1930">
                  <c:v>41378</c:v>
                </c:pt>
                <c:pt idx="1931">
                  <c:v>41379</c:v>
                </c:pt>
                <c:pt idx="1932">
                  <c:v>41380</c:v>
                </c:pt>
                <c:pt idx="1933">
                  <c:v>41381</c:v>
                </c:pt>
                <c:pt idx="1934">
                  <c:v>41382</c:v>
                </c:pt>
                <c:pt idx="1935">
                  <c:v>41383</c:v>
                </c:pt>
                <c:pt idx="1936">
                  <c:v>41384</c:v>
                </c:pt>
                <c:pt idx="1937">
                  <c:v>41385</c:v>
                </c:pt>
                <c:pt idx="1938">
                  <c:v>41386</c:v>
                </c:pt>
                <c:pt idx="1939">
                  <c:v>41387</c:v>
                </c:pt>
                <c:pt idx="1940">
                  <c:v>41388</c:v>
                </c:pt>
                <c:pt idx="1941">
                  <c:v>41389</c:v>
                </c:pt>
                <c:pt idx="1942">
                  <c:v>41390</c:v>
                </c:pt>
                <c:pt idx="1943">
                  <c:v>41391</c:v>
                </c:pt>
                <c:pt idx="1944">
                  <c:v>41392</c:v>
                </c:pt>
                <c:pt idx="1945">
                  <c:v>41393</c:v>
                </c:pt>
                <c:pt idx="1946">
                  <c:v>41394</c:v>
                </c:pt>
                <c:pt idx="1947">
                  <c:v>41395</c:v>
                </c:pt>
                <c:pt idx="1948">
                  <c:v>41396</c:v>
                </c:pt>
                <c:pt idx="1949">
                  <c:v>41397</c:v>
                </c:pt>
                <c:pt idx="1950">
                  <c:v>41398</c:v>
                </c:pt>
                <c:pt idx="1951">
                  <c:v>41399</c:v>
                </c:pt>
                <c:pt idx="1952">
                  <c:v>41400</c:v>
                </c:pt>
                <c:pt idx="1953">
                  <c:v>41401</c:v>
                </c:pt>
                <c:pt idx="1954">
                  <c:v>41402</c:v>
                </c:pt>
                <c:pt idx="1955">
                  <c:v>41403</c:v>
                </c:pt>
                <c:pt idx="1956">
                  <c:v>41404</c:v>
                </c:pt>
                <c:pt idx="1957">
                  <c:v>41405</c:v>
                </c:pt>
                <c:pt idx="1958">
                  <c:v>41406</c:v>
                </c:pt>
                <c:pt idx="1959">
                  <c:v>41407</c:v>
                </c:pt>
                <c:pt idx="1960">
                  <c:v>41408</c:v>
                </c:pt>
                <c:pt idx="1961">
                  <c:v>41409</c:v>
                </c:pt>
                <c:pt idx="1962">
                  <c:v>41410</c:v>
                </c:pt>
                <c:pt idx="1963">
                  <c:v>41411</c:v>
                </c:pt>
                <c:pt idx="1964">
                  <c:v>41412</c:v>
                </c:pt>
                <c:pt idx="1965">
                  <c:v>41413</c:v>
                </c:pt>
                <c:pt idx="1966">
                  <c:v>41414</c:v>
                </c:pt>
                <c:pt idx="1967">
                  <c:v>41415</c:v>
                </c:pt>
                <c:pt idx="1968">
                  <c:v>41416</c:v>
                </c:pt>
                <c:pt idx="1969">
                  <c:v>41417</c:v>
                </c:pt>
                <c:pt idx="1970">
                  <c:v>41418</c:v>
                </c:pt>
                <c:pt idx="1971">
                  <c:v>41419</c:v>
                </c:pt>
                <c:pt idx="1972">
                  <c:v>41420</c:v>
                </c:pt>
                <c:pt idx="1973">
                  <c:v>41421</c:v>
                </c:pt>
                <c:pt idx="1974">
                  <c:v>41422</c:v>
                </c:pt>
                <c:pt idx="1975">
                  <c:v>41423</c:v>
                </c:pt>
                <c:pt idx="1976">
                  <c:v>41424</c:v>
                </c:pt>
                <c:pt idx="1977">
                  <c:v>41425</c:v>
                </c:pt>
                <c:pt idx="1978">
                  <c:v>41426</c:v>
                </c:pt>
                <c:pt idx="1979">
                  <c:v>41427</c:v>
                </c:pt>
                <c:pt idx="1980">
                  <c:v>41428</c:v>
                </c:pt>
                <c:pt idx="1981">
                  <c:v>41429</c:v>
                </c:pt>
                <c:pt idx="1982">
                  <c:v>41430</c:v>
                </c:pt>
                <c:pt idx="1983">
                  <c:v>41431</c:v>
                </c:pt>
                <c:pt idx="1984">
                  <c:v>41432</c:v>
                </c:pt>
                <c:pt idx="1985">
                  <c:v>41433</c:v>
                </c:pt>
                <c:pt idx="1986">
                  <c:v>41434</c:v>
                </c:pt>
                <c:pt idx="1987">
                  <c:v>41435</c:v>
                </c:pt>
                <c:pt idx="1988">
                  <c:v>41436</c:v>
                </c:pt>
                <c:pt idx="1989">
                  <c:v>41437</c:v>
                </c:pt>
                <c:pt idx="1990">
                  <c:v>41438</c:v>
                </c:pt>
                <c:pt idx="1991">
                  <c:v>41439</c:v>
                </c:pt>
                <c:pt idx="1992">
                  <c:v>41440</c:v>
                </c:pt>
                <c:pt idx="1993">
                  <c:v>41441</c:v>
                </c:pt>
                <c:pt idx="1994">
                  <c:v>41442</c:v>
                </c:pt>
                <c:pt idx="1995">
                  <c:v>41443</c:v>
                </c:pt>
                <c:pt idx="1996">
                  <c:v>41444</c:v>
                </c:pt>
                <c:pt idx="1997">
                  <c:v>41445</c:v>
                </c:pt>
                <c:pt idx="1998">
                  <c:v>41446</c:v>
                </c:pt>
                <c:pt idx="1999">
                  <c:v>41447</c:v>
                </c:pt>
                <c:pt idx="2000">
                  <c:v>41448</c:v>
                </c:pt>
                <c:pt idx="2001">
                  <c:v>41449</c:v>
                </c:pt>
                <c:pt idx="2002">
                  <c:v>41450</c:v>
                </c:pt>
                <c:pt idx="2003">
                  <c:v>41451</c:v>
                </c:pt>
                <c:pt idx="2004">
                  <c:v>41452</c:v>
                </c:pt>
                <c:pt idx="2005">
                  <c:v>41453</c:v>
                </c:pt>
                <c:pt idx="2006">
                  <c:v>41454</c:v>
                </c:pt>
                <c:pt idx="2007">
                  <c:v>41455</c:v>
                </c:pt>
                <c:pt idx="2008">
                  <c:v>41456</c:v>
                </c:pt>
                <c:pt idx="2009">
                  <c:v>41457</c:v>
                </c:pt>
                <c:pt idx="2010">
                  <c:v>41458</c:v>
                </c:pt>
                <c:pt idx="2011">
                  <c:v>41459</c:v>
                </c:pt>
                <c:pt idx="2012">
                  <c:v>41460</c:v>
                </c:pt>
                <c:pt idx="2013">
                  <c:v>41461</c:v>
                </c:pt>
                <c:pt idx="2014">
                  <c:v>41462</c:v>
                </c:pt>
                <c:pt idx="2015">
                  <c:v>41463</c:v>
                </c:pt>
                <c:pt idx="2016">
                  <c:v>41464</c:v>
                </c:pt>
                <c:pt idx="2017">
                  <c:v>41465</c:v>
                </c:pt>
                <c:pt idx="2018">
                  <c:v>41466</c:v>
                </c:pt>
                <c:pt idx="2019">
                  <c:v>41467</c:v>
                </c:pt>
                <c:pt idx="2020">
                  <c:v>41468</c:v>
                </c:pt>
                <c:pt idx="2021">
                  <c:v>41469</c:v>
                </c:pt>
                <c:pt idx="2022">
                  <c:v>41470</c:v>
                </c:pt>
                <c:pt idx="2023">
                  <c:v>41471</c:v>
                </c:pt>
                <c:pt idx="2024">
                  <c:v>41472</c:v>
                </c:pt>
                <c:pt idx="2025">
                  <c:v>41473</c:v>
                </c:pt>
                <c:pt idx="2026">
                  <c:v>41474</c:v>
                </c:pt>
                <c:pt idx="2027">
                  <c:v>41475</c:v>
                </c:pt>
                <c:pt idx="2028">
                  <c:v>41476</c:v>
                </c:pt>
                <c:pt idx="2029">
                  <c:v>41477</c:v>
                </c:pt>
                <c:pt idx="2030">
                  <c:v>41478</c:v>
                </c:pt>
                <c:pt idx="2031">
                  <c:v>41479</c:v>
                </c:pt>
                <c:pt idx="2032">
                  <c:v>41480</c:v>
                </c:pt>
                <c:pt idx="2033">
                  <c:v>41481</c:v>
                </c:pt>
                <c:pt idx="2034">
                  <c:v>41482</c:v>
                </c:pt>
                <c:pt idx="2035">
                  <c:v>41483</c:v>
                </c:pt>
                <c:pt idx="2036">
                  <c:v>41484</c:v>
                </c:pt>
                <c:pt idx="2037">
                  <c:v>41485</c:v>
                </c:pt>
                <c:pt idx="2038">
                  <c:v>41486</c:v>
                </c:pt>
                <c:pt idx="2039">
                  <c:v>41487</c:v>
                </c:pt>
                <c:pt idx="2040">
                  <c:v>41488</c:v>
                </c:pt>
                <c:pt idx="2041">
                  <c:v>41489</c:v>
                </c:pt>
                <c:pt idx="2042">
                  <c:v>41490</c:v>
                </c:pt>
                <c:pt idx="2043">
                  <c:v>41491</c:v>
                </c:pt>
                <c:pt idx="2044">
                  <c:v>41492</c:v>
                </c:pt>
                <c:pt idx="2045">
                  <c:v>41493</c:v>
                </c:pt>
                <c:pt idx="2046">
                  <c:v>41494</c:v>
                </c:pt>
                <c:pt idx="2047">
                  <c:v>41495</c:v>
                </c:pt>
                <c:pt idx="2048">
                  <c:v>41496</c:v>
                </c:pt>
                <c:pt idx="2049">
                  <c:v>41497</c:v>
                </c:pt>
                <c:pt idx="2050">
                  <c:v>41498</c:v>
                </c:pt>
                <c:pt idx="2051">
                  <c:v>41499</c:v>
                </c:pt>
                <c:pt idx="2052">
                  <c:v>41500</c:v>
                </c:pt>
                <c:pt idx="2053">
                  <c:v>41501</c:v>
                </c:pt>
                <c:pt idx="2054">
                  <c:v>41502</c:v>
                </c:pt>
                <c:pt idx="2055">
                  <c:v>41503</c:v>
                </c:pt>
                <c:pt idx="2056">
                  <c:v>41504</c:v>
                </c:pt>
                <c:pt idx="2057">
                  <c:v>41505</c:v>
                </c:pt>
                <c:pt idx="2058">
                  <c:v>41506</c:v>
                </c:pt>
                <c:pt idx="2059">
                  <c:v>41507</c:v>
                </c:pt>
                <c:pt idx="2060">
                  <c:v>41508</c:v>
                </c:pt>
                <c:pt idx="2061">
                  <c:v>41509</c:v>
                </c:pt>
                <c:pt idx="2062">
                  <c:v>41510</c:v>
                </c:pt>
                <c:pt idx="2063">
                  <c:v>41511</c:v>
                </c:pt>
                <c:pt idx="2064">
                  <c:v>41512</c:v>
                </c:pt>
                <c:pt idx="2065">
                  <c:v>41513</c:v>
                </c:pt>
                <c:pt idx="2066">
                  <c:v>41514</c:v>
                </c:pt>
                <c:pt idx="2067">
                  <c:v>41515</c:v>
                </c:pt>
                <c:pt idx="2068">
                  <c:v>41516</c:v>
                </c:pt>
                <c:pt idx="2069">
                  <c:v>41517</c:v>
                </c:pt>
                <c:pt idx="2070">
                  <c:v>41518</c:v>
                </c:pt>
                <c:pt idx="2071">
                  <c:v>41519</c:v>
                </c:pt>
                <c:pt idx="2072">
                  <c:v>41520</c:v>
                </c:pt>
                <c:pt idx="2073">
                  <c:v>41521</c:v>
                </c:pt>
                <c:pt idx="2074">
                  <c:v>41522</c:v>
                </c:pt>
                <c:pt idx="2075">
                  <c:v>41523</c:v>
                </c:pt>
                <c:pt idx="2076">
                  <c:v>41524</c:v>
                </c:pt>
                <c:pt idx="2077">
                  <c:v>41525</c:v>
                </c:pt>
                <c:pt idx="2078">
                  <c:v>41526</c:v>
                </c:pt>
                <c:pt idx="2079">
                  <c:v>41527</c:v>
                </c:pt>
                <c:pt idx="2080">
                  <c:v>41528</c:v>
                </c:pt>
                <c:pt idx="2081">
                  <c:v>41529</c:v>
                </c:pt>
                <c:pt idx="2082">
                  <c:v>41530</c:v>
                </c:pt>
                <c:pt idx="2083">
                  <c:v>41531</c:v>
                </c:pt>
                <c:pt idx="2084">
                  <c:v>41532</c:v>
                </c:pt>
                <c:pt idx="2085">
                  <c:v>41533</c:v>
                </c:pt>
                <c:pt idx="2086">
                  <c:v>41534</c:v>
                </c:pt>
                <c:pt idx="2087">
                  <c:v>41535</c:v>
                </c:pt>
                <c:pt idx="2088">
                  <c:v>41536</c:v>
                </c:pt>
                <c:pt idx="2089">
                  <c:v>41537</c:v>
                </c:pt>
                <c:pt idx="2090">
                  <c:v>41538</c:v>
                </c:pt>
                <c:pt idx="2091">
                  <c:v>41539</c:v>
                </c:pt>
                <c:pt idx="2092">
                  <c:v>41540</c:v>
                </c:pt>
                <c:pt idx="2093">
                  <c:v>41541</c:v>
                </c:pt>
                <c:pt idx="2094">
                  <c:v>41542</c:v>
                </c:pt>
                <c:pt idx="2095">
                  <c:v>41543</c:v>
                </c:pt>
                <c:pt idx="2096">
                  <c:v>41544</c:v>
                </c:pt>
                <c:pt idx="2097">
                  <c:v>41545</c:v>
                </c:pt>
                <c:pt idx="2098">
                  <c:v>41546</c:v>
                </c:pt>
                <c:pt idx="2099">
                  <c:v>41547</c:v>
                </c:pt>
                <c:pt idx="2100">
                  <c:v>41548</c:v>
                </c:pt>
                <c:pt idx="2101">
                  <c:v>41549</c:v>
                </c:pt>
                <c:pt idx="2102">
                  <c:v>41550</c:v>
                </c:pt>
                <c:pt idx="2103">
                  <c:v>41551</c:v>
                </c:pt>
                <c:pt idx="2104">
                  <c:v>41552</c:v>
                </c:pt>
                <c:pt idx="2105">
                  <c:v>41553</c:v>
                </c:pt>
                <c:pt idx="2106">
                  <c:v>41554</c:v>
                </c:pt>
                <c:pt idx="2107">
                  <c:v>41555</c:v>
                </c:pt>
                <c:pt idx="2108">
                  <c:v>41556</c:v>
                </c:pt>
                <c:pt idx="2109">
                  <c:v>41557</c:v>
                </c:pt>
                <c:pt idx="2110">
                  <c:v>41558</c:v>
                </c:pt>
                <c:pt idx="2111">
                  <c:v>41559</c:v>
                </c:pt>
                <c:pt idx="2112">
                  <c:v>41560</c:v>
                </c:pt>
                <c:pt idx="2113">
                  <c:v>41561</c:v>
                </c:pt>
                <c:pt idx="2114">
                  <c:v>41562</c:v>
                </c:pt>
                <c:pt idx="2115">
                  <c:v>41563</c:v>
                </c:pt>
                <c:pt idx="2116">
                  <c:v>41564</c:v>
                </c:pt>
                <c:pt idx="2117">
                  <c:v>41565</c:v>
                </c:pt>
                <c:pt idx="2118">
                  <c:v>41566</c:v>
                </c:pt>
                <c:pt idx="2119">
                  <c:v>41567</c:v>
                </c:pt>
                <c:pt idx="2120">
                  <c:v>41568</c:v>
                </c:pt>
                <c:pt idx="2121">
                  <c:v>41569</c:v>
                </c:pt>
                <c:pt idx="2122">
                  <c:v>41570</c:v>
                </c:pt>
                <c:pt idx="2123">
                  <c:v>41571</c:v>
                </c:pt>
                <c:pt idx="2124">
                  <c:v>41572</c:v>
                </c:pt>
                <c:pt idx="2125">
                  <c:v>41573</c:v>
                </c:pt>
                <c:pt idx="2126">
                  <c:v>41574</c:v>
                </c:pt>
                <c:pt idx="2127">
                  <c:v>41575</c:v>
                </c:pt>
                <c:pt idx="2128">
                  <c:v>41576</c:v>
                </c:pt>
                <c:pt idx="2129">
                  <c:v>41577</c:v>
                </c:pt>
                <c:pt idx="2130">
                  <c:v>41578</c:v>
                </c:pt>
                <c:pt idx="2131">
                  <c:v>41579</c:v>
                </c:pt>
                <c:pt idx="2132">
                  <c:v>41580</c:v>
                </c:pt>
                <c:pt idx="2133">
                  <c:v>41581</c:v>
                </c:pt>
                <c:pt idx="2134">
                  <c:v>41582</c:v>
                </c:pt>
                <c:pt idx="2135">
                  <c:v>41583</c:v>
                </c:pt>
                <c:pt idx="2136">
                  <c:v>41584</c:v>
                </c:pt>
                <c:pt idx="2137">
                  <c:v>41585</c:v>
                </c:pt>
                <c:pt idx="2138">
                  <c:v>41586</c:v>
                </c:pt>
                <c:pt idx="2139">
                  <c:v>41587</c:v>
                </c:pt>
                <c:pt idx="2140">
                  <c:v>41588</c:v>
                </c:pt>
                <c:pt idx="2141">
                  <c:v>41589</c:v>
                </c:pt>
                <c:pt idx="2142">
                  <c:v>41590</c:v>
                </c:pt>
                <c:pt idx="2143">
                  <c:v>41591</c:v>
                </c:pt>
                <c:pt idx="2144">
                  <c:v>41592</c:v>
                </c:pt>
                <c:pt idx="2145">
                  <c:v>41593</c:v>
                </c:pt>
                <c:pt idx="2146">
                  <c:v>41594</c:v>
                </c:pt>
                <c:pt idx="2147">
                  <c:v>41595</c:v>
                </c:pt>
                <c:pt idx="2148">
                  <c:v>41596</c:v>
                </c:pt>
                <c:pt idx="2149">
                  <c:v>41597</c:v>
                </c:pt>
                <c:pt idx="2150">
                  <c:v>41598</c:v>
                </c:pt>
                <c:pt idx="2151">
                  <c:v>41599</c:v>
                </c:pt>
                <c:pt idx="2152">
                  <c:v>41600</c:v>
                </c:pt>
                <c:pt idx="2153">
                  <c:v>41601</c:v>
                </c:pt>
                <c:pt idx="2154">
                  <c:v>41602</c:v>
                </c:pt>
                <c:pt idx="2155">
                  <c:v>41603</c:v>
                </c:pt>
                <c:pt idx="2156">
                  <c:v>41604</c:v>
                </c:pt>
                <c:pt idx="2157">
                  <c:v>41605</c:v>
                </c:pt>
                <c:pt idx="2158">
                  <c:v>41606</c:v>
                </c:pt>
                <c:pt idx="2159">
                  <c:v>41607</c:v>
                </c:pt>
                <c:pt idx="2160">
                  <c:v>41608</c:v>
                </c:pt>
                <c:pt idx="2161">
                  <c:v>41609</c:v>
                </c:pt>
                <c:pt idx="2162">
                  <c:v>41610</c:v>
                </c:pt>
                <c:pt idx="2163">
                  <c:v>41611</c:v>
                </c:pt>
                <c:pt idx="2164">
                  <c:v>41612</c:v>
                </c:pt>
                <c:pt idx="2165">
                  <c:v>41613</c:v>
                </c:pt>
                <c:pt idx="2166">
                  <c:v>41614</c:v>
                </c:pt>
                <c:pt idx="2167">
                  <c:v>41615</c:v>
                </c:pt>
                <c:pt idx="2168">
                  <c:v>41616</c:v>
                </c:pt>
                <c:pt idx="2169">
                  <c:v>41617</c:v>
                </c:pt>
                <c:pt idx="2170">
                  <c:v>41618</c:v>
                </c:pt>
                <c:pt idx="2171">
                  <c:v>41619</c:v>
                </c:pt>
                <c:pt idx="2172">
                  <c:v>41620</c:v>
                </c:pt>
                <c:pt idx="2173">
                  <c:v>41621</c:v>
                </c:pt>
                <c:pt idx="2174">
                  <c:v>41622</c:v>
                </c:pt>
                <c:pt idx="2175">
                  <c:v>41623</c:v>
                </c:pt>
                <c:pt idx="2176">
                  <c:v>41624</c:v>
                </c:pt>
                <c:pt idx="2177">
                  <c:v>41625</c:v>
                </c:pt>
                <c:pt idx="2178">
                  <c:v>41626</c:v>
                </c:pt>
                <c:pt idx="2179">
                  <c:v>41627</c:v>
                </c:pt>
                <c:pt idx="2180">
                  <c:v>41628</c:v>
                </c:pt>
                <c:pt idx="2181">
                  <c:v>41629</c:v>
                </c:pt>
                <c:pt idx="2182">
                  <c:v>41630</c:v>
                </c:pt>
                <c:pt idx="2183">
                  <c:v>41631</c:v>
                </c:pt>
                <c:pt idx="2184">
                  <c:v>41632</c:v>
                </c:pt>
                <c:pt idx="2185">
                  <c:v>41633</c:v>
                </c:pt>
                <c:pt idx="2186">
                  <c:v>41634</c:v>
                </c:pt>
                <c:pt idx="2187">
                  <c:v>41635</c:v>
                </c:pt>
                <c:pt idx="2188">
                  <c:v>41636</c:v>
                </c:pt>
                <c:pt idx="2189">
                  <c:v>41637</c:v>
                </c:pt>
                <c:pt idx="2190">
                  <c:v>41638</c:v>
                </c:pt>
                <c:pt idx="2191">
                  <c:v>41639</c:v>
                </c:pt>
                <c:pt idx="2192">
                  <c:v>41640</c:v>
                </c:pt>
                <c:pt idx="2193">
                  <c:v>41641</c:v>
                </c:pt>
                <c:pt idx="2194">
                  <c:v>41642</c:v>
                </c:pt>
                <c:pt idx="2195">
                  <c:v>41643</c:v>
                </c:pt>
                <c:pt idx="2196">
                  <c:v>41644</c:v>
                </c:pt>
                <c:pt idx="2197">
                  <c:v>41645</c:v>
                </c:pt>
                <c:pt idx="2198">
                  <c:v>41646</c:v>
                </c:pt>
                <c:pt idx="2199">
                  <c:v>41647</c:v>
                </c:pt>
                <c:pt idx="2200">
                  <c:v>41648</c:v>
                </c:pt>
                <c:pt idx="2201">
                  <c:v>41649</c:v>
                </c:pt>
                <c:pt idx="2202">
                  <c:v>41650</c:v>
                </c:pt>
                <c:pt idx="2203">
                  <c:v>41651</c:v>
                </c:pt>
                <c:pt idx="2204">
                  <c:v>41652</c:v>
                </c:pt>
                <c:pt idx="2205">
                  <c:v>41653</c:v>
                </c:pt>
                <c:pt idx="2206">
                  <c:v>41654</c:v>
                </c:pt>
                <c:pt idx="2207">
                  <c:v>41655</c:v>
                </c:pt>
                <c:pt idx="2208">
                  <c:v>41656</c:v>
                </c:pt>
                <c:pt idx="2209">
                  <c:v>41657</c:v>
                </c:pt>
                <c:pt idx="2210">
                  <c:v>41658</c:v>
                </c:pt>
                <c:pt idx="2211">
                  <c:v>41659</c:v>
                </c:pt>
                <c:pt idx="2212">
                  <c:v>41660</c:v>
                </c:pt>
                <c:pt idx="2213">
                  <c:v>41661</c:v>
                </c:pt>
                <c:pt idx="2214">
                  <c:v>41662</c:v>
                </c:pt>
                <c:pt idx="2215">
                  <c:v>41663</c:v>
                </c:pt>
                <c:pt idx="2216">
                  <c:v>41664</c:v>
                </c:pt>
                <c:pt idx="2217">
                  <c:v>41665</c:v>
                </c:pt>
                <c:pt idx="2218">
                  <c:v>41666</c:v>
                </c:pt>
                <c:pt idx="2219">
                  <c:v>41667</c:v>
                </c:pt>
                <c:pt idx="2220">
                  <c:v>41668</c:v>
                </c:pt>
                <c:pt idx="2221">
                  <c:v>41669</c:v>
                </c:pt>
                <c:pt idx="2222">
                  <c:v>41670</c:v>
                </c:pt>
                <c:pt idx="2223">
                  <c:v>41671</c:v>
                </c:pt>
                <c:pt idx="2224">
                  <c:v>41672</c:v>
                </c:pt>
                <c:pt idx="2225">
                  <c:v>41673</c:v>
                </c:pt>
                <c:pt idx="2226">
                  <c:v>41674</c:v>
                </c:pt>
                <c:pt idx="2227">
                  <c:v>41675</c:v>
                </c:pt>
                <c:pt idx="2228">
                  <c:v>41676</c:v>
                </c:pt>
                <c:pt idx="2229">
                  <c:v>41677</c:v>
                </c:pt>
                <c:pt idx="2230">
                  <c:v>41678</c:v>
                </c:pt>
                <c:pt idx="2231">
                  <c:v>41679</c:v>
                </c:pt>
                <c:pt idx="2232">
                  <c:v>41680</c:v>
                </c:pt>
                <c:pt idx="2233">
                  <c:v>41681</c:v>
                </c:pt>
                <c:pt idx="2234">
                  <c:v>41682</c:v>
                </c:pt>
                <c:pt idx="2235">
                  <c:v>41683</c:v>
                </c:pt>
                <c:pt idx="2236">
                  <c:v>41684</c:v>
                </c:pt>
                <c:pt idx="2237">
                  <c:v>41685</c:v>
                </c:pt>
                <c:pt idx="2238">
                  <c:v>41686</c:v>
                </c:pt>
                <c:pt idx="2239">
                  <c:v>41687</c:v>
                </c:pt>
                <c:pt idx="2240">
                  <c:v>41688</c:v>
                </c:pt>
                <c:pt idx="2241">
                  <c:v>41689</c:v>
                </c:pt>
                <c:pt idx="2242">
                  <c:v>41690</c:v>
                </c:pt>
                <c:pt idx="2243">
                  <c:v>41691</c:v>
                </c:pt>
                <c:pt idx="2244">
                  <c:v>41692</c:v>
                </c:pt>
                <c:pt idx="2245">
                  <c:v>41693</c:v>
                </c:pt>
                <c:pt idx="2246">
                  <c:v>41694</c:v>
                </c:pt>
                <c:pt idx="2247">
                  <c:v>41695</c:v>
                </c:pt>
                <c:pt idx="2248">
                  <c:v>41696</c:v>
                </c:pt>
                <c:pt idx="2249">
                  <c:v>41697</c:v>
                </c:pt>
                <c:pt idx="2250">
                  <c:v>41698</c:v>
                </c:pt>
                <c:pt idx="2251">
                  <c:v>41699</c:v>
                </c:pt>
                <c:pt idx="2252">
                  <c:v>41700</c:v>
                </c:pt>
                <c:pt idx="2253">
                  <c:v>41701</c:v>
                </c:pt>
                <c:pt idx="2254">
                  <c:v>41702</c:v>
                </c:pt>
                <c:pt idx="2255">
                  <c:v>41703</c:v>
                </c:pt>
                <c:pt idx="2256">
                  <c:v>41704</c:v>
                </c:pt>
                <c:pt idx="2257">
                  <c:v>41705</c:v>
                </c:pt>
                <c:pt idx="2258">
                  <c:v>41706</c:v>
                </c:pt>
                <c:pt idx="2259">
                  <c:v>41707</c:v>
                </c:pt>
                <c:pt idx="2260">
                  <c:v>41708</c:v>
                </c:pt>
                <c:pt idx="2261">
                  <c:v>41709</c:v>
                </c:pt>
                <c:pt idx="2262">
                  <c:v>41710</c:v>
                </c:pt>
                <c:pt idx="2263">
                  <c:v>41711</c:v>
                </c:pt>
                <c:pt idx="2264">
                  <c:v>41712</c:v>
                </c:pt>
                <c:pt idx="2265">
                  <c:v>41713</c:v>
                </c:pt>
                <c:pt idx="2266">
                  <c:v>41714</c:v>
                </c:pt>
                <c:pt idx="2267">
                  <c:v>41715</c:v>
                </c:pt>
                <c:pt idx="2268">
                  <c:v>41716</c:v>
                </c:pt>
                <c:pt idx="2269">
                  <c:v>41717</c:v>
                </c:pt>
                <c:pt idx="2270">
                  <c:v>41718</c:v>
                </c:pt>
                <c:pt idx="2271">
                  <c:v>41719</c:v>
                </c:pt>
                <c:pt idx="2272">
                  <c:v>41720</c:v>
                </c:pt>
                <c:pt idx="2273">
                  <c:v>41721</c:v>
                </c:pt>
                <c:pt idx="2274">
                  <c:v>41722</c:v>
                </c:pt>
                <c:pt idx="2275">
                  <c:v>41723</c:v>
                </c:pt>
                <c:pt idx="2276">
                  <c:v>41724</c:v>
                </c:pt>
                <c:pt idx="2277">
                  <c:v>41725</c:v>
                </c:pt>
                <c:pt idx="2278">
                  <c:v>41726</c:v>
                </c:pt>
                <c:pt idx="2279">
                  <c:v>41727</c:v>
                </c:pt>
                <c:pt idx="2280">
                  <c:v>41728</c:v>
                </c:pt>
                <c:pt idx="2281">
                  <c:v>41729</c:v>
                </c:pt>
                <c:pt idx="2282">
                  <c:v>41730</c:v>
                </c:pt>
                <c:pt idx="2283">
                  <c:v>41731</c:v>
                </c:pt>
                <c:pt idx="2284">
                  <c:v>41732</c:v>
                </c:pt>
                <c:pt idx="2285">
                  <c:v>41733</c:v>
                </c:pt>
                <c:pt idx="2286">
                  <c:v>41734</c:v>
                </c:pt>
                <c:pt idx="2287">
                  <c:v>41735</c:v>
                </c:pt>
                <c:pt idx="2288">
                  <c:v>41736</c:v>
                </c:pt>
                <c:pt idx="2289">
                  <c:v>41737</c:v>
                </c:pt>
                <c:pt idx="2290">
                  <c:v>41738</c:v>
                </c:pt>
                <c:pt idx="2291">
                  <c:v>41739</c:v>
                </c:pt>
                <c:pt idx="2292">
                  <c:v>41740</c:v>
                </c:pt>
                <c:pt idx="2293">
                  <c:v>41741</c:v>
                </c:pt>
                <c:pt idx="2294">
                  <c:v>41742</c:v>
                </c:pt>
                <c:pt idx="2295">
                  <c:v>41743</c:v>
                </c:pt>
                <c:pt idx="2296">
                  <c:v>41744</c:v>
                </c:pt>
                <c:pt idx="2297">
                  <c:v>41745</c:v>
                </c:pt>
                <c:pt idx="2298">
                  <c:v>41746</c:v>
                </c:pt>
                <c:pt idx="2299">
                  <c:v>41747</c:v>
                </c:pt>
                <c:pt idx="2300">
                  <c:v>41748</c:v>
                </c:pt>
                <c:pt idx="2301">
                  <c:v>41749</c:v>
                </c:pt>
                <c:pt idx="2302">
                  <c:v>41750</c:v>
                </c:pt>
                <c:pt idx="2303">
                  <c:v>41751</c:v>
                </c:pt>
                <c:pt idx="2304">
                  <c:v>41752</c:v>
                </c:pt>
                <c:pt idx="2305">
                  <c:v>41753</c:v>
                </c:pt>
                <c:pt idx="2306">
                  <c:v>41754</c:v>
                </c:pt>
                <c:pt idx="2307">
                  <c:v>41755</c:v>
                </c:pt>
                <c:pt idx="2308">
                  <c:v>41756</c:v>
                </c:pt>
                <c:pt idx="2309">
                  <c:v>41757</c:v>
                </c:pt>
                <c:pt idx="2310">
                  <c:v>41758</c:v>
                </c:pt>
                <c:pt idx="2311">
                  <c:v>41759</c:v>
                </c:pt>
                <c:pt idx="2312">
                  <c:v>41760</c:v>
                </c:pt>
                <c:pt idx="2313">
                  <c:v>41761</c:v>
                </c:pt>
                <c:pt idx="2314">
                  <c:v>41762</c:v>
                </c:pt>
                <c:pt idx="2315">
                  <c:v>41763</c:v>
                </c:pt>
                <c:pt idx="2316">
                  <c:v>41764</c:v>
                </c:pt>
                <c:pt idx="2317">
                  <c:v>41765</c:v>
                </c:pt>
                <c:pt idx="2318">
                  <c:v>41766</c:v>
                </c:pt>
                <c:pt idx="2319">
                  <c:v>41767</c:v>
                </c:pt>
                <c:pt idx="2320">
                  <c:v>41768</c:v>
                </c:pt>
                <c:pt idx="2321">
                  <c:v>41769</c:v>
                </c:pt>
                <c:pt idx="2322">
                  <c:v>41770</c:v>
                </c:pt>
                <c:pt idx="2323">
                  <c:v>41771</c:v>
                </c:pt>
                <c:pt idx="2324">
                  <c:v>41772</c:v>
                </c:pt>
                <c:pt idx="2325">
                  <c:v>41773</c:v>
                </c:pt>
                <c:pt idx="2326">
                  <c:v>41774</c:v>
                </c:pt>
                <c:pt idx="2327">
                  <c:v>41775</c:v>
                </c:pt>
                <c:pt idx="2328">
                  <c:v>41776</c:v>
                </c:pt>
                <c:pt idx="2329">
                  <c:v>41777</c:v>
                </c:pt>
                <c:pt idx="2330">
                  <c:v>41778</c:v>
                </c:pt>
                <c:pt idx="2331">
                  <c:v>41779</c:v>
                </c:pt>
                <c:pt idx="2332">
                  <c:v>41780</c:v>
                </c:pt>
                <c:pt idx="2333">
                  <c:v>41781</c:v>
                </c:pt>
                <c:pt idx="2334">
                  <c:v>41782</c:v>
                </c:pt>
                <c:pt idx="2335">
                  <c:v>41783</c:v>
                </c:pt>
                <c:pt idx="2336">
                  <c:v>41784</c:v>
                </c:pt>
                <c:pt idx="2337">
                  <c:v>41785</c:v>
                </c:pt>
                <c:pt idx="2338">
                  <c:v>41786</c:v>
                </c:pt>
                <c:pt idx="2339">
                  <c:v>41787</c:v>
                </c:pt>
                <c:pt idx="2340">
                  <c:v>41788</c:v>
                </c:pt>
                <c:pt idx="2341">
                  <c:v>41789</c:v>
                </c:pt>
                <c:pt idx="2342">
                  <c:v>41790</c:v>
                </c:pt>
                <c:pt idx="2343">
                  <c:v>41791</c:v>
                </c:pt>
                <c:pt idx="2344">
                  <c:v>41792</c:v>
                </c:pt>
                <c:pt idx="2345">
                  <c:v>41793</c:v>
                </c:pt>
                <c:pt idx="2346">
                  <c:v>41794</c:v>
                </c:pt>
                <c:pt idx="2347">
                  <c:v>41795</c:v>
                </c:pt>
                <c:pt idx="2348">
                  <c:v>41796</c:v>
                </c:pt>
                <c:pt idx="2349">
                  <c:v>41797</c:v>
                </c:pt>
                <c:pt idx="2350">
                  <c:v>41798</c:v>
                </c:pt>
                <c:pt idx="2351">
                  <c:v>41799</c:v>
                </c:pt>
                <c:pt idx="2352">
                  <c:v>41800</c:v>
                </c:pt>
                <c:pt idx="2353">
                  <c:v>41801</c:v>
                </c:pt>
                <c:pt idx="2354">
                  <c:v>41802</c:v>
                </c:pt>
                <c:pt idx="2355">
                  <c:v>41803</c:v>
                </c:pt>
                <c:pt idx="2356">
                  <c:v>41804</c:v>
                </c:pt>
                <c:pt idx="2357">
                  <c:v>41805</c:v>
                </c:pt>
                <c:pt idx="2358">
                  <c:v>41806</c:v>
                </c:pt>
                <c:pt idx="2359">
                  <c:v>41807</c:v>
                </c:pt>
                <c:pt idx="2360">
                  <c:v>41808</c:v>
                </c:pt>
                <c:pt idx="2361">
                  <c:v>41809</c:v>
                </c:pt>
                <c:pt idx="2362">
                  <c:v>41810</c:v>
                </c:pt>
                <c:pt idx="2363">
                  <c:v>41811</c:v>
                </c:pt>
                <c:pt idx="2364">
                  <c:v>41812</c:v>
                </c:pt>
                <c:pt idx="2365">
                  <c:v>41813</c:v>
                </c:pt>
                <c:pt idx="2366">
                  <c:v>41814</c:v>
                </c:pt>
                <c:pt idx="2367">
                  <c:v>41815</c:v>
                </c:pt>
                <c:pt idx="2368">
                  <c:v>41816</c:v>
                </c:pt>
                <c:pt idx="2369">
                  <c:v>41817</c:v>
                </c:pt>
                <c:pt idx="2370">
                  <c:v>41818</c:v>
                </c:pt>
                <c:pt idx="2371">
                  <c:v>41819</c:v>
                </c:pt>
                <c:pt idx="2372">
                  <c:v>41820</c:v>
                </c:pt>
                <c:pt idx="2373">
                  <c:v>41821</c:v>
                </c:pt>
                <c:pt idx="2374">
                  <c:v>41822</c:v>
                </c:pt>
                <c:pt idx="2375">
                  <c:v>41823</c:v>
                </c:pt>
                <c:pt idx="2376">
                  <c:v>41824</c:v>
                </c:pt>
                <c:pt idx="2377">
                  <c:v>41825</c:v>
                </c:pt>
                <c:pt idx="2378">
                  <c:v>41826</c:v>
                </c:pt>
                <c:pt idx="2379">
                  <c:v>41827</c:v>
                </c:pt>
                <c:pt idx="2380">
                  <c:v>41828</c:v>
                </c:pt>
                <c:pt idx="2381">
                  <c:v>41829</c:v>
                </c:pt>
                <c:pt idx="2382">
                  <c:v>41830</c:v>
                </c:pt>
                <c:pt idx="2383">
                  <c:v>41831</c:v>
                </c:pt>
                <c:pt idx="2384">
                  <c:v>41832</c:v>
                </c:pt>
                <c:pt idx="2385">
                  <c:v>41833</c:v>
                </c:pt>
                <c:pt idx="2386">
                  <c:v>41834</c:v>
                </c:pt>
                <c:pt idx="2387">
                  <c:v>41835</c:v>
                </c:pt>
                <c:pt idx="2388">
                  <c:v>41836</c:v>
                </c:pt>
                <c:pt idx="2389">
                  <c:v>41837</c:v>
                </c:pt>
                <c:pt idx="2390">
                  <c:v>41838</c:v>
                </c:pt>
                <c:pt idx="2391">
                  <c:v>41839</c:v>
                </c:pt>
                <c:pt idx="2392">
                  <c:v>41840</c:v>
                </c:pt>
                <c:pt idx="2393">
                  <c:v>41841</c:v>
                </c:pt>
                <c:pt idx="2394">
                  <c:v>41842</c:v>
                </c:pt>
                <c:pt idx="2395">
                  <c:v>41843</c:v>
                </c:pt>
                <c:pt idx="2396">
                  <c:v>41844</c:v>
                </c:pt>
                <c:pt idx="2397">
                  <c:v>41845</c:v>
                </c:pt>
                <c:pt idx="2398">
                  <c:v>41846</c:v>
                </c:pt>
                <c:pt idx="2399">
                  <c:v>41847</c:v>
                </c:pt>
                <c:pt idx="2400">
                  <c:v>41848</c:v>
                </c:pt>
                <c:pt idx="2401">
                  <c:v>41849</c:v>
                </c:pt>
                <c:pt idx="2402">
                  <c:v>41850</c:v>
                </c:pt>
                <c:pt idx="2403">
                  <c:v>41851</c:v>
                </c:pt>
                <c:pt idx="2404">
                  <c:v>41852</c:v>
                </c:pt>
                <c:pt idx="2405">
                  <c:v>41853</c:v>
                </c:pt>
                <c:pt idx="2406">
                  <c:v>41854</c:v>
                </c:pt>
                <c:pt idx="2407">
                  <c:v>41855</c:v>
                </c:pt>
                <c:pt idx="2408">
                  <c:v>41856</c:v>
                </c:pt>
                <c:pt idx="2409">
                  <c:v>41857</c:v>
                </c:pt>
                <c:pt idx="2410">
                  <c:v>41858</c:v>
                </c:pt>
                <c:pt idx="2411">
                  <c:v>41859</c:v>
                </c:pt>
                <c:pt idx="2412">
                  <c:v>41860</c:v>
                </c:pt>
                <c:pt idx="2413">
                  <c:v>41861</c:v>
                </c:pt>
                <c:pt idx="2414">
                  <c:v>41862</c:v>
                </c:pt>
                <c:pt idx="2415">
                  <c:v>41863</c:v>
                </c:pt>
                <c:pt idx="2416">
                  <c:v>41864</c:v>
                </c:pt>
                <c:pt idx="2417">
                  <c:v>41865</c:v>
                </c:pt>
                <c:pt idx="2418">
                  <c:v>41866</c:v>
                </c:pt>
                <c:pt idx="2419">
                  <c:v>41867</c:v>
                </c:pt>
                <c:pt idx="2420">
                  <c:v>41868</c:v>
                </c:pt>
                <c:pt idx="2421">
                  <c:v>41869</c:v>
                </c:pt>
                <c:pt idx="2422">
                  <c:v>41870</c:v>
                </c:pt>
                <c:pt idx="2423">
                  <c:v>41871</c:v>
                </c:pt>
                <c:pt idx="2424">
                  <c:v>41872</c:v>
                </c:pt>
                <c:pt idx="2425">
                  <c:v>41873</c:v>
                </c:pt>
                <c:pt idx="2426">
                  <c:v>41874</c:v>
                </c:pt>
                <c:pt idx="2427">
                  <c:v>41875</c:v>
                </c:pt>
                <c:pt idx="2428">
                  <c:v>41876</c:v>
                </c:pt>
                <c:pt idx="2429">
                  <c:v>41877</c:v>
                </c:pt>
                <c:pt idx="2430">
                  <c:v>41878</c:v>
                </c:pt>
                <c:pt idx="2431">
                  <c:v>41879</c:v>
                </c:pt>
                <c:pt idx="2432">
                  <c:v>41880</c:v>
                </c:pt>
                <c:pt idx="2433">
                  <c:v>41881</c:v>
                </c:pt>
                <c:pt idx="2434">
                  <c:v>41882</c:v>
                </c:pt>
                <c:pt idx="2435">
                  <c:v>41883</c:v>
                </c:pt>
                <c:pt idx="2436">
                  <c:v>41884</c:v>
                </c:pt>
                <c:pt idx="2437">
                  <c:v>41885</c:v>
                </c:pt>
                <c:pt idx="2438">
                  <c:v>41886</c:v>
                </c:pt>
                <c:pt idx="2439">
                  <c:v>41887</c:v>
                </c:pt>
                <c:pt idx="2440">
                  <c:v>41888</c:v>
                </c:pt>
                <c:pt idx="2441">
                  <c:v>41889</c:v>
                </c:pt>
                <c:pt idx="2442">
                  <c:v>41890</c:v>
                </c:pt>
                <c:pt idx="2443">
                  <c:v>41891</c:v>
                </c:pt>
                <c:pt idx="2444">
                  <c:v>41892</c:v>
                </c:pt>
                <c:pt idx="2445">
                  <c:v>41893</c:v>
                </c:pt>
                <c:pt idx="2446">
                  <c:v>41894</c:v>
                </c:pt>
                <c:pt idx="2447">
                  <c:v>41895</c:v>
                </c:pt>
                <c:pt idx="2448">
                  <c:v>41896</c:v>
                </c:pt>
                <c:pt idx="2449">
                  <c:v>41897</c:v>
                </c:pt>
                <c:pt idx="2450">
                  <c:v>41898</c:v>
                </c:pt>
                <c:pt idx="2451">
                  <c:v>41899</c:v>
                </c:pt>
                <c:pt idx="2452">
                  <c:v>41900</c:v>
                </c:pt>
                <c:pt idx="2453">
                  <c:v>41901</c:v>
                </c:pt>
                <c:pt idx="2454">
                  <c:v>41902</c:v>
                </c:pt>
                <c:pt idx="2455">
                  <c:v>41903</c:v>
                </c:pt>
                <c:pt idx="2456">
                  <c:v>41904</c:v>
                </c:pt>
                <c:pt idx="2457">
                  <c:v>41905</c:v>
                </c:pt>
                <c:pt idx="2458">
                  <c:v>41906</c:v>
                </c:pt>
                <c:pt idx="2459">
                  <c:v>41907</c:v>
                </c:pt>
                <c:pt idx="2460">
                  <c:v>41908</c:v>
                </c:pt>
                <c:pt idx="2461">
                  <c:v>41909</c:v>
                </c:pt>
                <c:pt idx="2462">
                  <c:v>41910</c:v>
                </c:pt>
                <c:pt idx="2463">
                  <c:v>41911</c:v>
                </c:pt>
                <c:pt idx="2464">
                  <c:v>41912</c:v>
                </c:pt>
                <c:pt idx="2465">
                  <c:v>41913</c:v>
                </c:pt>
                <c:pt idx="2466">
                  <c:v>41914</c:v>
                </c:pt>
                <c:pt idx="2467">
                  <c:v>41915</c:v>
                </c:pt>
                <c:pt idx="2468">
                  <c:v>41916</c:v>
                </c:pt>
                <c:pt idx="2469">
                  <c:v>41917</c:v>
                </c:pt>
                <c:pt idx="2470">
                  <c:v>41918</c:v>
                </c:pt>
                <c:pt idx="2471">
                  <c:v>41919</c:v>
                </c:pt>
                <c:pt idx="2472">
                  <c:v>41920</c:v>
                </c:pt>
                <c:pt idx="2473">
                  <c:v>41921</c:v>
                </c:pt>
                <c:pt idx="2474">
                  <c:v>41922</c:v>
                </c:pt>
                <c:pt idx="2475">
                  <c:v>41923</c:v>
                </c:pt>
                <c:pt idx="2476">
                  <c:v>41924</c:v>
                </c:pt>
                <c:pt idx="2477">
                  <c:v>41925</c:v>
                </c:pt>
                <c:pt idx="2478">
                  <c:v>41926</c:v>
                </c:pt>
                <c:pt idx="2479">
                  <c:v>41927</c:v>
                </c:pt>
                <c:pt idx="2480">
                  <c:v>41928</c:v>
                </c:pt>
                <c:pt idx="2481">
                  <c:v>41929</c:v>
                </c:pt>
                <c:pt idx="2482">
                  <c:v>41930</c:v>
                </c:pt>
                <c:pt idx="2483">
                  <c:v>41931</c:v>
                </c:pt>
                <c:pt idx="2484">
                  <c:v>41932</c:v>
                </c:pt>
                <c:pt idx="2485">
                  <c:v>41933</c:v>
                </c:pt>
                <c:pt idx="2486">
                  <c:v>41934</c:v>
                </c:pt>
                <c:pt idx="2487">
                  <c:v>41935</c:v>
                </c:pt>
                <c:pt idx="2488">
                  <c:v>41936</c:v>
                </c:pt>
                <c:pt idx="2489">
                  <c:v>41937</c:v>
                </c:pt>
                <c:pt idx="2490">
                  <c:v>41938</c:v>
                </c:pt>
                <c:pt idx="2491">
                  <c:v>41939</c:v>
                </c:pt>
                <c:pt idx="2492">
                  <c:v>41940</c:v>
                </c:pt>
                <c:pt idx="2493">
                  <c:v>41941</c:v>
                </c:pt>
                <c:pt idx="2494">
                  <c:v>41942</c:v>
                </c:pt>
                <c:pt idx="2495">
                  <c:v>41943</c:v>
                </c:pt>
                <c:pt idx="2496">
                  <c:v>41944</c:v>
                </c:pt>
                <c:pt idx="2497">
                  <c:v>41945</c:v>
                </c:pt>
                <c:pt idx="2498">
                  <c:v>41946</c:v>
                </c:pt>
                <c:pt idx="2499">
                  <c:v>41947</c:v>
                </c:pt>
                <c:pt idx="2500">
                  <c:v>41948</c:v>
                </c:pt>
                <c:pt idx="2501">
                  <c:v>41949</c:v>
                </c:pt>
                <c:pt idx="2502">
                  <c:v>41950</c:v>
                </c:pt>
                <c:pt idx="2503">
                  <c:v>41951</c:v>
                </c:pt>
                <c:pt idx="2504">
                  <c:v>41952</c:v>
                </c:pt>
                <c:pt idx="2505">
                  <c:v>41953</c:v>
                </c:pt>
                <c:pt idx="2506">
                  <c:v>41954</c:v>
                </c:pt>
                <c:pt idx="2507">
                  <c:v>41955</c:v>
                </c:pt>
                <c:pt idx="2508">
                  <c:v>41956</c:v>
                </c:pt>
                <c:pt idx="2509">
                  <c:v>41957</c:v>
                </c:pt>
                <c:pt idx="2510">
                  <c:v>41958</c:v>
                </c:pt>
                <c:pt idx="2511">
                  <c:v>41959</c:v>
                </c:pt>
                <c:pt idx="2512">
                  <c:v>41960</c:v>
                </c:pt>
                <c:pt idx="2513">
                  <c:v>41961</c:v>
                </c:pt>
                <c:pt idx="2514">
                  <c:v>41962</c:v>
                </c:pt>
                <c:pt idx="2515">
                  <c:v>41963</c:v>
                </c:pt>
                <c:pt idx="2516">
                  <c:v>41964</c:v>
                </c:pt>
                <c:pt idx="2517">
                  <c:v>41965</c:v>
                </c:pt>
                <c:pt idx="2518">
                  <c:v>41966</c:v>
                </c:pt>
                <c:pt idx="2519">
                  <c:v>41967</c:v>
                </c:pt>
                <c:pt idx="2520">
                  <c:v>41968</c:v>
                </c:pt>
                <c:pt idx="2521">
                  <c:v>41969</c:v>
                </c:pt>
                <c:pt idx="2522">
                  <c:v>41970</c:v>
                </c:pt>
                <c:pt idx="2523">
                  <c:v>41971</c:v>
                </c:pt>
                <c:pt idx="2524">
                  <c:v>41972</c:v>
                </c:pt>
                <c:pt idx="2525">
                  <c:v>41973</c:v>
                </c:pt>
                <c:pt idx="2526">
                  <c:v>41974</c:v>
                </c:pt>
                <c:pt idx="2527">
                  <c:v>41975</c:v>
                </c:pt>
                <c:pt idx="2528">
                  <c:v>41976</c:v>
                </c:pt>
                <c:pt idx="2529">
                  <c:v>41977</c:v>
                </c:pt>
                <c:pt idx="2530">
                  <c:v>41978</c:v>
                </c:pt>
                <c:pt idx="2531">
                  <c:v>41979</c:v>
                </c:pt>
                <c:pt idx="2532">
                  <c:v>41980</c:v>
                </c:pt>
                <c:pt idx="2533">
                  <c:v>41981</c:v>
                </c:pt>
                <c:pt idx="2534">
                  <c:v>41982</c:v>
                </c:pt>
                <c:pt idx="2535">
                  <c:v>41983</c:v>
                </c:pt>
                <c:pt idx="2536">
                  <c:v>41984</c:v>
                </c:pt>
                <c:pt idx="2537">
                  <c:v>41985</c:v>
                </c:pt>
                <c:pt idx="2538">
                  <c:v>41986</c:v>
                </c:pt>
                <c:pt idx="2539">
                  <c:v>41987</c:v>
                </c:pt>
                <c:pt idx="2540">
                  <c:v>41988</c:v>
                </c:pt>
                <c:pt idx="2541">
                  <c:v>41989</c:v>
                </c:pt>
                <c:pt idx="2542">
                  <c:v>41990</c:v>
                </c:pt>
                <c:pt idx="2543">
                  <c:v>41991</c:v>
                </c:pt>
                <c:pt idx="2544">
                  <c:v>41992</c:v>
                </c:pt>
                <c:pt idx="2545">
                  <c:v>41993</c:v>
                </c:pt>
                <c:pt idx="2546">
                  <c:v>41994</c:v>
                </c:pt>
                <c:pt idx="2547">
                  <c:v>41995</c:v>
                </c:pt>
                <c:pt idx="2548">
                  <c:v>41996</c:v>
                </c:pt>
                <c:pt idx="2549">
                  <c:v>41997</c:v>
                </c:pt>
                <c:pt idx="2550">
                  <c:v>41998</c:v>
                </c:pt>
                <c:pt idx="2551">
                  <c:v>41999</c:v>
                </c:pt>
                <c:pt idx="2552">
                  <c:v>42000</c:v>
                </c:pt>
                <c:pt idx="2553">
                  <c:v>42001</c:v>
                </c:pt>
                <c:pt idx="2554">
                  <c:v>42002</c:v>
                </c:pt>
                <c:pt idx="2555">
                  <c:v>42003</c:v>
                </c:pt>
                <c:pt idx="2556">
                  <c:v>42004</c:v>
                </c:pt>
                <c:pt idx="2557">
                  <c:v>42005</c:v>
                </c:pt>
                <c:pt idx="2558">
                  <c:v>42006</c:v>
                </c:pt>
                <c:pt idx="2559">
                  <c:v>42007</c:v>
                </c:pt>
                <c:pt idx="2560">
                  <c:v>42008</c:v>
                </c:pt>
                <c:pt idx="2561">
                  <c:v>42009</c:v>
                </c:pt>
                <c:pt idx="2562">
                  <c:v>42010</c:v>
                </c:pt>
                <c:pt idx="2563">
                  <c:v>42011</c:v>
                </c:pt>
                <c:pt idx="2564">
                  <c:v>42012</c:v>
                </c:pt>
                <c:pt idx="2565">
                  <c:v>42013</c:v>
                </c:pt>
                <c:pt idx="2566">
                  <c:v>42014</c:v>
                </c:pt>
                <c:pt idx="2567">
                  <c:v>42015</c:v>
                </c:pt>
                <c:pt idx="2568">
                  <c:v>42016</c:v>
                </c:pt>
                <c:pt idx="2569">
                  <c:v>42017</c:v>
                </c:pt>
                <c:pt idx="2570">
                  <c:v>42018</c:v>
                </c:pt>
                <c:pt idx="2571">
                  <c:v>42019</c:v>
                </c:pt>
                <c:pt idx="2572">
                  <c:v>42020</c:v>
                </c:pt>
                <c:pt idx="2573">
                  <c:v>42021</c:v>
                </c:pt>
                <c:pt idx="2574">
                  <c:v>42022</c:v>
                </c:pt>
                <c:pt idx="2575">
                  <c:v>42023</c:v>
                </c:pt>
                <c:pt idx="2576">
                  <c:v>42024</c:v>
                </c:pt>
                <c:pt idx="2577">
                  <c:v>42025</c:v>
                </c:pt>
                <c:pt idx="2578">
                  <c:v>42026</c:v>
                </c:pt>
                <c:pt idx="2579">
                  <c:v>42027</c:v>
                </c:pt>
                <c:pt idx="2580">
                  <c:v>42028</c:v>
                </c:pt>
                <c:pt idx="2581">
                  <c:v>42029</c:v>
                </c:pt>
                <c:pt idx="2582">
                  <c:v>42030</c:v>
                </c:pt>
                <c:pt idx="2583">
                  <c:v>42031</c:v>
                </c:pt>
                <c:pt idx="2584">
                  <c:v>42032</c:v>
                </c:pt>
                <c:pt idx="2585">
                  <c:v>42033</c:v>
                </c:pt>
                <c:pt idx="2586">
                  <c:v>42034</c:v>
                </c:pt>
                <c:pt idx="2587">
                  <c:v>42035</c:v>
                </c:pt>
                <c:pt idx="2588">
                  <c:v>42036</c:v>
                </c:pt>
                <c:pt idx="2589">
                  <c:v>42037</c:v>
                </c:pt>
                <c:pt idx="2590">
                  <c:v>42038</c:v>
                </c:pt>
                <c:pt idx="2591">
                  <c:v>42039</c:v>
                </c:pt>
                <c:pt idx="2592">
                  <c:v>42040</c:v>
                </c:pt>
                <c:pt idx="2593">
                  <c:v>42041</c:v>
                </c:pt>
                <c:pt idx="2594">
                  <c:v>42042</c:v>
                </c:pt>
                <c:pt idx="2595">
                  <c:v>42043</c:v>
                </c:pt>
                <c:pt idx="2596">
                  <c:v>42044</c:v>
                </c:pt>
                <c:pt idx="2597">
                  <c:v>42045</c:v>
                </c:pt>
                <c:pt idx="2598">
                  <c:v>42046</c:v>
                </c:pt>
                <c:pt idx="2599">
                  <c:v>42047</c:v>
                </c:pt>
                <c:pt idx="2600">
                  <c:v>42048</c:v>
                </c:pt>
                <c:pt idx="2601">
                  <c:v>42049</c:v>
                </c:pt>
                <c:pt idx="2602">
                  <c:v>42050</c:v>
                </c:pt>
                <c:pt idx="2603">
                  <c:v>42051</c:v>
                </c:pt>
                <c:pt idx="2604">
                  <c:v>42052</c:v>
                </c:pt>
                <c:pt idx="2605">
                  <c:v>42053</c:v>
                </c:pt>
                <c:pt idx="2606">
                  <c:v>42054</c:v>
                </c:pt>
                <c:pt idx="2607">
                  <c:v>42055</c:v>
                </c:pt>
                <c:pt idx="2608">
                  <c:v>42056</c:v>
                </c:pt>
                <c:pt idx="2609">
                  <c:v>42057</c:v>
                </c:pt>
                <c:pt idx="2610">
                  <c:v>42058</c:v>
                </c:pt>
                <c:pt idx="2611">
                  <c:v>42059</c:v>
                </c:pt>
                <c:pt idx="2612">
                  <c:v>42060</c:v>
                </c:pt>
                <c:pt idx="2613">
                  <c:v>42061</c:v>
                </c:pt>
                <c:pt idx="2614">
                  <c:v>42062</c:v>
                </c:pt>
                <c:pt idx="2615">
                  <c:v>42063</c:v>
                </c:pt>
                <c:pt idx="2616">
                  <c:v>42064</c:v>
                </c:pt>
                <c:pt idx="2617">
                  <c:v>42065</c:v>
                </c:pt>
                <c:pt idx="2618">
                  <c:v>42066</c:v>
                </c:pt>
                <c:pt idx="2619">
                  <c:v>42067</c:v>
                </c:pt>
                <c:pt idx="2620">
                  <c:v>42068</c:v>
                </c:pt>
                <c:pt idx="2621">
                  <c:v>42069</c:v>
                </c:pt>
                <c:pt idx="2622">
                  <c:v>42070</c:v>
                </c:pt>
                <c:pt idx="2623">
                  <c:v>42071</c:v>
                </c:pt>
                <c:pt idx="2624">
                  <c:v>42072</c:v>
                </c:pt>
                <c:pt idx="2625">
                  <c:v>42073</c:v>
                </c:pt>
                <c:pt idx="2626">
                  <c:v>42074</c:v>
                </c:pt>
                <c:pt idx="2627">
                  <c:v>42075</c:v>
                </c:pt>
                <c:pt idx="2628">
                  <c:v>42076</c:v>
                </c:pt>
                <c:pt idx="2629">
                  <c:v>42077</c:v>
                </c:pt>
                <c:pt idx="2630">
                  <c:v>42078</c:v>
                </c:pt>
                <c:pt idx="2631">
                  <c:v>42079</c:v>
                </c:pt>
                <c:pt idx="2632">
                  <c:v>42080</c:v>
                </c:pt>
                <c:pt idx="2633">
                  <c:v>42081</c:v>
                </c:pt>
                <c:pt idx="2634">
                  <c:v>42082</c:v>
                </c:pt>
                <c:pt idx="2635">
                  <c:v>42083</c:v>
                </c:pt>
                <c:pt idx="2636">
                  <c:v>42084</c:v>
                </c:pt>
                <c:pt idx="2637">
                  <c:v>42085</c:v>
                </c:pt>
                <c:pt idx="2638">
                  <c:v>42086</c:v>
                </c:pt>
                <c:pt idx="2639">
                  <c:v>42087</c:v>
                </c:pt>
                <c:pt idx="2640">
                  <c:v>42088</c:v>
                </c:pt>
                <c:pt idx="2641">
                  <c:v>42089</c:v>
                </c:pt>
                <c:pt idx="2642">
                  <c:v>42090</c:v>
                </c:pt>
                <c:pt idx="2643">
                  <c:v>42091</c:v>
                </c:pt>
                <c:pt idx="2644">
                  <c:v>42092</c:v>
                </c:pt>
                <c:pt idx="2645">
                  <c:v>42093</c:v>
                </c:pt>
                <c:pt idx="2646">
                  <c:v>42094</c:v>
                </c:pt>
                <c:pt idx="2647">
                  <c:v>42095</c:v>
                </c:pt>
                <c:pt idx="2648">
                  <c:v>42096</c:v>
                </c:pt>
                <c:pt idx="2649">
                  <c:v>42097</c:v>
                </c:pt>
                <c:pt idx="2650">
                  <c:v>42098</c:v>
                </c:pt>
                <c:pt idx="2651">
                  <c:v>42099</c:v>
                </c:pt>
                <c:pt idx="2652">
                  <c:v>42100</c:v>
                </c:pt>
                <c:pt idx="2653">
                  <c:v>42101</c:v>
                </c:pt>
                <c:pt idx="2654">
                  <c:v>42102</c:v>
                </c:pt>
                <c:pt idx="2655">
                  <c:v>42103</c:v>
                </c:pt>
                <c:pt idx="2656">
                  <c:v>42104</c:v>
                </c:pt>
                <c:pt idx="2657">
                  <c:v>42105</c:v>
                </c:pt>
                <c:pt idx="2658">
                  <c:v>42106</c:v>
                </c:pt>
                <c:pt idx="2659">
                  <c:v>42107</c:v>
                </c:pt>
                <c:pt idx="2660">
                  <c:v>42108</c:v>
                </c:pt>
                <c:pt idx="2661">
                  <c:v>42109</c:v>
                </c:pt>
                <c:pt idx="2662">
                  <c:v>42110</c:v>
                </c:pt>
                <c:pt idx="2663">
                  <c:v>42111</c:v>
                </c:pt>
                <c:pt idx="2664">
                  <c:v>42112</c:v>
                </c:pt>
                <c:pt idx="2665">
                  <c:v>42113</c:v>
                </c:pt>
                <c:pt idx="2666">
                  <c:v>42114</c:v>
                </c:pt>
                <c:pt idx="2667">
                  <c:v>42115</c:v>
                </c:pt>
                <c:pt idx="2668">
                  <c:v>42116</c:v>
                </c:pt>
                <c:pt idx="2669">
                  <c:v>42117</c:v>
                </c:pt>
                <c:pt idx="2670">
                  <c:v>42118</c:v>
                </c:pt>
                <c:pt idx="2671">
                  <c:v>42119</c:v>
                </c:pt>
                <c:pt idx="2672">
                  <c:v>42120</c:v>
                </c:pt>
                <c:pt idx="2673">
                  <c:v>42121</c:v>
                </c:pt>
                <c:pt idx="2674">
                  <c:v>42122</c:v>
                </c:pt>
                <c:pt idx="2675">
                  <c:v>42123</c:v>
                </c:pt>
                <c:pt idx="2676">
                  <c:v>42124</c:v>
                </c:pt>
                <c:pt idx="2677">
                  <c:v>42125</c:v>
                </c:pt>
                <c:pt idx="2678">
                  <c:v>42126</c:v>
                </c:pt>
                <c:pt idx="2679">
                  <c:v>42127</c:v>
                </c:pt>
                <c:pt idx="2680">
                  <c:v>42128</c:v>
                </c:pt>
                <c:pt idx="2681">
                  <c:v>42129</c:v>
                </c:pt>
                <c:pt idx="2682">
                  <c:v>42130</c:v>
                </c:pt>
                <c:pt idx="2683">
                  <c:v>42131</c:v>
                </c:pt>
                <c:pt idx="2684">
                  <c:v>42132</c:v>
                </c:pt>
                <c:pt idx="2685">
                  <c:v>42133</c:v>
                </c:pt>
                <c:pt idx="2686">
                  <c:v>42134</c:v>
                </c:pt>
                <c:pt idx="2687">
                  <c:v>42135</c:v>
                </c:pt>
                <c:pt idx="2688">
                  <c:v>42136</c:v>
                </c:pt>
                <c:pt idx="2689">
                  <c:v>42137</c:v>
                </c:pt>
                <c:pt idx="2690">
                  <c:v>42138</c:v>
                </c:pt>
                <c:pt idx="2691">
                  <c:v>42139</c:v>
                </c:pt>
                <c:pt idx="2692">
                  <c:v>42140</c:v>
                </c:pt>
                <c:pt idx="2693">
                  <c:v>42141</c:v>
                </c:pt>
                <c:pt idx="2694">
                  <c:v>42142</c:v>
                </c:pt>
                <c:pt idx="2695">
                  <c:v>42143</c:v>
                </c:pt>
                <c:pt idx="2696">
                  <c:v>42144</c:v>
                </c:pt>
                <c:pt idx="2697">
                  <c:v>42145</c:v>
                </c:pt>
                <c:pt idx="2698">
                  <c:v>42146</c:v>
                </c:pt>
                <c:pt idx="2699">
                  <c:v>42147</c:v>
                </c:pt>
                <c:pt idx="2700">
                  <c:v>42148</c:v>
                </c:pt>
                <c:pt idx="2701">
                  <c:v>42149</c:v>
                </c:pt>
                <c:pt idx="2702">
                  <c:v>42150</c:v>
                </c:pt>
                <c:pt idx="2703">
                  <c:v>42151</c:v>
                </c:pt>
                <c:pt idx="2704">
                  <c:v>42152</c:v>
                </c:pt>
                <c:pt idx="2705">
                  <c:v>42153</c:v>
                </c:pt>
                <c:pt idx="2706">
                  <c:v>42154</c:v>
                </c:pt>
                <c:pt idx="2707">
                  <c:v>42155</c:v>
                </c:pt>
                <c:pt idx="2708">
                  <c:v>42156</c:v>
                </c:pt>
                <c:pt idx="2709">
                  <c:v>42157</c:v>
                </c:pt>
                <c:pt idx="2710">
                  <c:v>42158</c:v>
                </c:pt>
                <c:pt idx="2711">
                  <c:v>42159</c:v>
                </c:pt>
                <c:pt idx="2712">
                  <c:v>42160</c:v>
                </c:pt>
                <c:pt idx="2713">
                  <c:v>42161</c:v>
                </c:pt>
                <c:pt idx="2714">
                  <c:v>42162</c:v>
                </c:pt>
                <c:pt idx="2715">
                  <c:v>42163</c:v>
                </c:pt>
                <c:pt idx="2716">
                  <c:v>42164</c:v>
                </c:pt>
                <c:pt idx="2717">
                  <c:v>42165</c:v>
                </c:pt>
                <c:pt idx="2718">
                  <c:v>42166</c:v>
                </c:pt>
                <c:pt idx="2719">
                  <c:v>42167</c:v>
                </c:pt>
                <c:pt idx="2720">
                  <c:v>42168</c:v>
                </c:pt>
                <c:pt idx="2721">
                  <c:v>42169</c:v>
                </c:pt>
                <c:pt idx="2722">
                  <c:v>42170</c:v>
                </c:pt>
                <c:pt idx="2723">
                  <c:v>42171</c:v>
                </c:pt>
                <c:pt idx="2724">
                  <c:v>42172</c:v>
                </c:pt>
                <c:pt idx="2725">
                  <c:v>42173</c:v>
                </c:pt>
                <c:pt idx="2726">
                  <c:v>42174</c:v>
                </c:pt>
                <c:pt idx="2727">
                  <c:v>42175</c:v>
                </c:pt>
                <c:pt idx="2728">
                  <c:v>42176</c:v>
                </c:pt>
                <c:pt idx="2729">
                  <c:v>42177</c:v>
                </c:pt>
                <c:pt idx="2730">
                  <c:v>42178</c:v>
                </c:pt>
                <c:pt idx="2731">
                  <c:v>42179</c:v>
                </c:pt>
                <c:pt idx="2732">
                  <c:v>42180</c:v>
                </c:pt>
                <c:pt idx="2733">
                  <c:v>42181</c:v>
                </c:pt>
                <c:pt idx="2734">
                  <c:v>42182</c:v>
                </c:pt>
                <c:pt idx="2735">
                  <c:v>42183</c:v>
                </c:pt>
                <c:pt idx="2736">
                  <c:v>42184</c:v>
                </c:pt>
                <c:pt idx="2737">
                  <c:v>42185</c:v>
                </c:pt>
                <c:pt idx="2738">
                  <c:v>42186</c:v>
                </c:pt>
                <c:pt idx="2739">
                  <c:v>42187</c:v>
                </c:pt>
                <c:pt idx="2740">
                  <c:v>42188</c:v>
                </c:pt>
                <c:pt idx="2741">
                  <c:v>42189</c:v>
                </c:pt>
                <c:pt idx="2742">
                  <c:v>42190</c:v>
                </c:pt>
                <c:pt idx="2743">
                  <c:v>42191</c:v>
                </c:pt>
                <c:pt idx="2744">
                  <c:v>42192</c:v>
                </c:pt>
                <c:pt idx="2745">
                  <c:v>42193</c:v>
                </c:pt>
                <c:pt idx="2746">
                  <c:v>42194</c:v>
                </c:pt>
                <c:pt idx="2747">
                  <c:v>42195</c:v>
                </c:pt>
                <c:pt idx="2748">
                  <c:v>42196</c:v>
                </c:pt>
                <c:pt idx="2749">
                  <c:v>42197</c:v>
                </c:pt>
                <c:pt idx="2750">
                  <c:v>42198</c:v>
                </c:pt>
                <c:pt idx="2751">
                  <c:v>42199</c:v>
                </c:pt>
                <c:pt idx="2752">
                  <c:v>42200</c:v>
                </c:pt>
                <c:pt idx="2753">
                  <c:v>42201</c:v>
                </c:pt>
                <c:pt idx="2754">
                  <c:v>42202</c:v>
                </c:pt>
                <c:pt idx="2755">
                  <c:v>42203</c:v>
                </c:pt>
                <c:pt idx="2756">
                  <c:v>42204</c:v>
                </c:pt>
                <c:pt idx="2757">
                  <c:v>42205</c:v>
                </c:pt>
                <c:pt idx="2758">
                  <c:v>42206</c:v>
                </c:pt>
                <c:pt idx="2759">
                  <c:v>42207</c:v>
                </c:pt>
                <c:pt idx="2760">
                  <c:v>42208</c:v>
                </c:pt>
                <c:pt idx="2761">
                  <c:v>42209</c:v>
                </c:pt>
                <c:pt idx="2762">
                  <c:v>42210</c:v>
                </c:pt>
                <c:pt idx="2763">
                  <c:v>42211</c:v>
                </c:pt>
                <c:pt idx="2764">
                  <c:v>42212</c:v>
                </c:pt>
                <c:pt idx="2765">
                  <c:v>42213</c:v>
                </c:pt>
                <c:pt idx="2766">
                  <c:v>42214</c:v>
                </c:pt>
                <c:pt idx="2767">
                  <c:v>42215</c:v>
                </c:pt>
                <c:pt idx="2768">
                  <c:v>42216</c:v>
                </c:pt>
                <c:pt idx="2769">
                  <c:v>42217</c:v>
                </c:pt>
                <c:pt idx="2770">
                  <c:v>42218</c:v>
                </c:pt>
                <c:pt idx="2771">
                  <c:v>42219</c:v>
                </c:pt>
                <c:pt idx="2772">
                  <c:v>42220</c:v>
                </c:pt>
                <c:pt idx="2773">
                  <c:v>42221</c:v>
                </c:pt>
                <c:pt idx="2774">
                  <c:v>42222</c:v>
                </c:pt>
                <c:pt idx="2775">
                  <c:v>42223</c:v>
                </c:pt>
                <c:pt idx="2776">
                  <c:v>42224</c:v>
                </c:pt>
                <c:pt idx="2777">
                  <c:v>42225</c:v>
                </c:pt>
                <c:pt idx="2778">
                  <c:v>42226</c:v>
                </c:pt>
                <c:pt idx="2779">
                  <c:v>42227</c:v>
                </c:pt>
                <c:pt idx="2780">
                  <c:v>42228</c:v>
                </c:pt>
                <c:pt idx="2781">
                  <c:v>42229</c:v>
                </c:pt>
                <c:pt idx="2782">
                  <c:v>42230</c:v>
                </c:pt>
                <c:pt idx="2783">
                  <c:v>42231</c:v>
                </c:pt>
                <c:pt idx="2784">
                  <c:v>42232</c:v>
                </c:pt>
                <c:pt idx="2785">
                  <c:v>42233</c:v>
                </c:pt>
                <c:pt idx="2786">
                  <c:v>42234</c:v>
                </c:pt>
                <c:pt idx="2787">
                  <c:v>42235</c:v>
                </c:pt>
                <c:pt idx="2788">
                  <c:v>42236</c:v>
                </c:pt>
                <c:pt idx="2789">
                  <c:v>42237</c:v>
                </c:pt>
                <c:pt idx="2790">
                  <c:v>42238</c:v>
                </c:pt>
                <c:pt idx="2791">
                  <c:v>42239</c:v>
                </c:pt>
                <c:pt idx="2792">
                  <c:v>42240</c:v>
                </c:pt>
                <c:pt idx="2793">
                  <c:v>42241</c:v>
                </c:pt>
                <c:pt idx="2794">
                  <c:v>42242</c:v>
                </c:pt>
                <c:pt idx="2795">
                  <c:v>42243</c:v>
                </c:pt>
                <c:pt idx="2796">
                  <c:v>42244</c:v>
                </c:pt>
                <c:pt idx="2797">
                  <c:v>42245</c:v>
                </c:pt>
                <c:pt idx="2798">
                  <c:v>42246</c:v>
                </c:pt>
                <c:pt idx="2799">
                  <c:v>42247</c:v>
                </c:pt>
                <c:pt idx="2800">
                  <c:v>42248</c:v>
                </c:pt>
                <c:pt idx="2801">
                  <c:v>42249</c:v>
                </c:pt>
                <c:pt idx="2802">
                  <c:v>42250</c:v>
                </c:pt>
                <c:pt idx="2803">
                  <c:v>42251</c:v>
                </c:pt>
                <c:pt idx="2804">
                  <c:v>42252</c:v>
                </c:pt>
                <c:pt idx="2805">
                  <c:v>42253</c:v>
                </c:pt>
                <c:pt idx="2806">
                  <c:v>42254</c:v>
                </c:pt>
                <c:pt idx="2807">
                  <c:v>42255</c:v>
                </c:pt>
                <c:pt idx="2808">
                  <c:v>42256</c:v>
                </c:pt>
                <c:pt idx="2809">
                  <c:v>42257</c:v>
                </c:pt>
                <c:pt idx="2810">
                  <c:v>42258</c:v>
                </c:pt>
                <c:pt idx="2811">
                  <c:v>42259</c:v>
                </c:pt>
                <c:pt idx="2812">
                  <c:v>42260</c:v>
                </c:pt>
                <c:pt idx="2813">
                  <c:v>42261</c:v>
                </c:pt>
                <c:pt idx="2814">
                  <c:v>42262</c:v>
                </c:pt>
                <c:pt idx="2815">
                  <c:v>42263</c:v>
                </c:pt>
                <c:pt idx="2816">
                  <c:v>42264</c:v>
                </c:pt>
                <c:pt idx="2817">
                  <c:v>42265</c:v>
                </c:pt>
                <c:pt idx="2818">
                  <c:v>42266</c:v>
                </c:pt>
                <c:pt idx="2819">
                  <c:v>42267</c:v>
                </c:pt>
                <c:pt idx="2820">
                  <c:v>42268</c:v>
                </c:pt>
                <c:pt idx="2821">
                  <c:v>42269</c:v>
                </c:pt>
                <c:pt idx="2822">
                  <c:v>42270</c:v>
                </c:pt>
                <c:pt idx="2823">
                  <c:v>42271</c:v>
                </c:pt>
                <c:pt idx="2824">
                  <c:v>42272</c:v>
                </c:pt>
                <c:pt idx="2825">
                  <c:v>42273</c:v>
                </c:pt>
                <c:pt idx="2826">
                  <c:v>42274</c:v>
                </c:pt>
                <c:pt idx="2827">
                  <c:v>42275</c:v>
                </c:pt>
                <c:pt idx="2828">
                  <c:v>42276</c:v>
                </c:pt>
                <c:pt idx="2829">
                  <c:v>42277</c:v>
                </c:pt>
                <c:pt idx="2830">
                  <c:v>42278</c:v>
                </c:pt>
                <c:pt idx="2831">
                  <c:v>42279</c:v>
                </c:pt>
                <c:pt idx="2832">
                  <c:v>42280</c:v>
                </c:pt>
                <c:pt idx="2833">
                  <c:v>42281</c:v>
                </c:pt>
                <c:pt idx="2834">
                  <c:v>42282</c:v>
                </c:pt>
                <c:pt idx="2835">
                  <c:v>42283</c:v>
                </c:pt>
                <c:pt idx="2836">
                  <c:v>42284</c:v>
                </c:pt>
                <c:pt idx="2837">
                  <c:v>42285</c:v>
                </c:pt>
                <c:pt idx="2838">
                  <c:v>42286</c:v>
                </c:pt>
                <c:pt idx="2839">
                  <c:v>42287</c:v>
                </c:pt>
                <c:pt idx="2840">
                  <c:v>42288</c:v>
                </c:pt>
                <c:pt idx="2841">
                  <c:v>42289</c:v>
                </c:pt>
                <c:pt idx="2842">
                  <c:v>42290</c:v>
                </c:pt>
                <c:pt idx="2843">
                  <c:v>42291</c:v>
                </c:pt>
                <c:pt idx="2844">
                  <c:v>42292</c:v>
                </c:pt>
                <c:pt idx="2845">
                  <c:v>42293</c:v>
                </c:pt>
                <c:pt idx="2846">
                  <c:v>42294</c:v>
                </c:pt>
                <c:pt idx="2847">
                  <c:v>42295</c:v>
                </c:pt>
                <c:pt idx="2848">
                  <c:v>42296</c:v>
                </c:pt>
                <c:pt idx="2849">
                  <c:v>42297</c:v>
                </c:pt>
                <c:pt idx="2850">
                  <c:v>42298</c:v>
                </c:pt>
                <c:pt idx="2851">
                  <c:v>42299</c:v>
                </c:pt>
                <c:pt idx="2852">
                  <c:v>42300</c:v>
                </c:pt>
                <c:pt idx="2853">
                  <c:v>42301</c:v>
                </c:pt>
                <c:pt idx="2854">
                  <c:v>42302</c:v>
                </c:pt>
                <c:pt idx="2855">
                  <c:v>42303</c:v>
                </c:pt>
                <c:pt idx="2856">
                  <c:v>42304</c:v>
                </c:pt>
                <c:pt idx="2857">
                  <c:v>42305</c:v>
                </c:pt>
                <c:pt idx="2858">
                  <c:v>42306</c:v>
                </c:pt>
                <c:pt idx="2859">
                  <c:v>42307</c:v>
                </c:pt>
                <c:pt idx="2860">
                  <c:v>42308</c:v>
                </c:pt>
                <c:pt idx="2861">
                  <c:v>42309</c:v>
                </c:pt>
                <c:pt idx="2862">
                  <c:v>42310</c:v>
                </c:pt>
                <c:pt idx="2863">
                  <c:v>42311</c:v>
                </c:pt>
                <c:pt idx="2864">
                  <c:v>42312</c:v>
                </c:pt>
                <c:pt idx="2865">
                  <c:v>42313</c:v>
                </c:pt>
                <c:pt idx="2866">
                  <c:v>42314</c:v>
                </c:pt>
                <c:pt idx="2867">
                  <c:v>42315</c:v>
                </c:pt>
                <c:pt idx="2868">
                  <c:v>42316</c:v>
                </c:pt>
                <c:pt idx="2869">
                  <c:v>42317</c:v>
                </c:pt>
                <c:pt idx="2870">
                  <c:v>42318</c:v>
                </c:pt>
                <c:pt idx="2871">
                  <c:v>42319</c:v>
                </c:pt>
                <c:pt idx="2872">
                  <c:v>42320</c:v>
                </c:pt>
                <c:pt idx="2873">
                  <c:v>42321</c:v>
                </c:pt>
                <c:pt idx="2874">
                  <c:v>42322</c:v>
                </c:pt>
                <c:pt idx="2875">
                  <c:v>42323</c:v>
                </c:pt>
                <c:pt idx="2876">
                  <c:v>42324</c:v>
                </c:pt>
                <c:pt idx="2877">
                  <c:v>42325</c:v>
                </c:pt>
                <c:pt idx="2878">
                  <c:v>42326</c:v>
                </c:pt>
                <c:pt idx="2879">
                  <c:v>42327</c:v>
                </c:pt>
                <c:pt idx="2880">
                  <c:v>42328</c:v>
                </c:pt>
                <c:pt idx="2881">
                  <c:v>42329</c:v>
                </c:pt>
                <c:pt idx="2882">
                  <c:v>42330</c:v>
                </c:pt>
                <c:pt idx="2883">
                  <c:v>42331</c:v>
                </c:pt>
                <c:pt idx="2884">
                  <c:v>42332</c:v>
                </c:pt>
                <c:pt idx="2885">
                  <c:v>42333</c:v>
                </c:pt>
                <c:pt idx="2886">
                  <c:v>42334</c:v>
                </c:pt>
                <c:pt idx="2887">
                  <c:v>42335</c:v>
                </c:pt>
                <c:pt idx="2888">
                  <c:v>42336</c:v>
                </c:pt>
                <c:pt idx="2889">
                  <c:v>42337</c:v>
                </c:pt>
                <c:pt idx="2890">
                  <c:v>42338</c:v>
                </c:pt>
                <c:pt idx="2891">
                  <c:v>42339</c:v>
                </c:pt>
                <c:pt idx="2892">
                  <c:v>42340</c:v>
                </c:pt>
                <c:pt idx="2893">
                  <c:v>42341</c:v>
                </c:pt>
                <c:pt idx="2894">
                  <c:v>42342</c:v>
                </c:pt>
                <c:pt idx="2895">
                  <c:v>42343</c:v>
                </c:pt>
                <c:pt idx="2896">
                  <c:v>42344</c:v>
                </c:pt>
                <c:pt idx="2897">
                  <c:v>42345</c:v>
                </c:pt>
                <c:pt idx="2898">
                  <c:v>42346</c:v>
                </c:pt>
                <c:pt idx="2899">
                  <c:v>42347</c:v>
                </c:pt>
                <c:pt idx="2900">
                  <c:v>42348</c:v>
                </c:pt>
                <c:pt idx="2901">
                  <c:v>42349</c:v>
                </c:pt>
                <c:pt idx="2902">
                  <c:v>42350</c:v>
                </c:pt>
                <c:pt idx="2903">
                  <c:v>42351</c:v>
                </c:pt>
                <c:pt idx="2904">
                  <c:v>42352</c:v>
                </c:pt>
                <c:pt idx="2905">
                  <c:v>42353</c:v>
                </c:pt>
                <c:pt idx="2906">
                  <c:v>42354</c:v>
                </c:pt>
                <c:pt idx="2907">
                  <c:v>42355</c:v>
                </c:pt>
                <c:pt idx="2908">
                  <c:v>42356</c:v>
                </c:pt>
                <c:pt idx="2909">
                  <c:v>42357</c:v>
                </c:pt>
                <c:pt idx="2910">
                  <c:v>42358</c:v>
                </c:pt>
                <c:pt idx="2911">
                  <c:v>42359</c:v>
                </c:pt>
                <c:pt idx="2912">
                  <c:v>42360</c:v>
                </c:pt>
                <c:pt idx="2913">
                  <c:v>42361</c:v>
                </c:pt>
                <c:pt idx="2914">
                  <c:v>42362</c:v>
                </c:pt>
                <c:pt idx="2915">
                  <c:v>42363</c:v>
                </c:pt>
                <c:pt idx="2916">
                  <c:v>42364</c:v>
                </c:pt>
                <c:pt idx="2917">
                  <c:v>42365</c:v>
                </c:pt>
                <c:pt idx="2918">
                  <c:v>42366</c:v>
                </c:pt>
                <c:pt idx="2919">
                  <c:v>42367</c:v>
                </c:pt>
                <c:pt idx="2920">
                  <c:v>42368</c:v>
                </c:pt>
                <c:pt idx="2921">
                  <c:v>42369</c:v>
                </c:pt>
                <c:pt idx="2922">
                  <c:v>42370</c:v>
                </c:pt>
                <c:pt idx="2923">
                  <c:v>42371</c:v>
                </c:pt>
                <c:pt idx="2924">
                  <c:v>42372</c:v>
                </c:pt>
                <c:pt idx="2925">
                  <c:v>42373</c:v>
                </c:pt>
                <c:pt idx="2926">
                  <c:v>42374</c:v>
                </c:pt>
                <c:pt idx="2927">
                  <c:v>42375</c:v>
                </c:pt>
                <c:pt idx="2928">
                  <c:v>42376</c:v>
                </c:pt>
                <c:pt idx="2929">
                  <c:v>42377</c:v>
                </c:pt>
                <c:pt idx="2930">
                  <c:v>42378</c:v>
                </c:pt>
                <c:pt idx="2931">
                  <c:v>42379</c:v>
                </c:pt>
                <c:pt idx="2932">
                  <c:v>42380</c:v>
                </c:pt>
                <c:pt idx="2933">
                  <c:v>42381</c:v>
                </c:pt>
                <c:pt idx="2934">
                  <c:v>42382</c:v>
                </c:pt>
                <c:pt idx="2935">
                  <c:v>42383</c:v>
                </c:pt>
                <c:pt idx="2936">
                  <c:v>42384</c:v>
                </c:pt>
                <c:pt idx="2937">
                  <c:v>42385</c:v>
                </c:pt>
                <c:pt idx="2938">
                  <c:v>42386</c:v>
                </c:pt>
                <c:pt idx="2939">
                  <c:v>42387</c:v>
                </c:pt>
                <c:pt idx="2940">
                  <c:v>42388</c:v>
                </c:pt>
                <c:pt idx="2941">
                  <c:v>42389</c:v>
                </c:pt>
                <c:pt idx="2942">
                  <c:v>42390</c:v>
                </c:pt>
                <c:pt idx="2943">
                  <c:v>42391</c:v>
                </c:pt>
                <c:pt idx="2944">
                  <c:v>42392</c:v>
                </c:pt>
                <c:pt idx="2945">
                  <c:v>42393</c:v>
                </c:pt>
                <c:pt idx="2946">
                  <c:v>42394</c:v>
                </c:pt>
                <c:pt idx="2947">
                  <c:v>42395</c:v>
                </c:pt>
                <c:pt idx="2948">
                  <c:v>42396</c:v>
                </c:pt>
                <c:pt idx="2949">
                  <c:v>42397</c:v>
                </c:pt>
                <c:pt idx="2950">
                  <c:v>42398</c:v>
                </c:pt>
                <c:pt idx="2951">
                  <c:v>42399</c:v>
                </c:pt>
                <c:pt idx="2952">
                  <c:v>42400</c:v>
                </c:pt>
                <c:pt idx="2953">
                  <c:v>42401</c:v>
                </c:pt>
                <c:pt idx="2954">
                  <c:v>42402</c:v>
                </c:pt>
                <c:pt idx="2955">
                  <c:v>42403</c:v>
                </c:pt>
              </c:numCache>
            </c:numRef>
          </c:cat>
          <c:val>
            <c:numRef>
              <c:f>Daily!$B$2:$DIS$2</c:f>
              <c:numCache>
                <c:formatCode>General</c:formatCode>
                <c:ptCount val="2956"/>
                <c:pt idx="0">
                  <c:v>45.79</c:v>
                </c:pt>
                <c:pt idx="1">
                  <c:v>50.63</c:v>
                </c:pt>
                <c:pt idx="2">
                  <c:v>50.22</c:v>
                </c:pt>
                <c:pt idx="3">
                  <c:v>47.86</c:v>
                </c:pt>
                <c:pt idx="4">
                  <c:v>47.09</c:v>
                </c:pt>
                <c:pt idx="5">
                  <c:v>47.75</c:v>
                </c:pt>
                <c:pt idx="6">
                  <c:v>55.752000000000002</c:v>
                </c:pt>
                <c:pt idx="7">
                  <c:v>49.319099999999999</c:v>
                </c:pt>
                <c:pt idx="8">
                  <c:v>47.534500000000001</c:v>
                </c:pt>
                <c:pt idx="9">
                  <c:v>47.597499999999997</c:v>
                </c:pt>
                <c:pt idx="10">
                  <c:v>47.618299999999998</c:v>
                </c:pt>
                <c:pt idx="11">
                  <c:v>46.822899999999997</c:v>
                </c:pt>
                <c:pt idx="12">
                  <c:v>46.731200000000001</c:v>
                </c:pt>
                <c:pt idx="13">
                  <c:v>47.601999999999997</c:v>
                </c:pt>
                <c:pt idx="14">
                  <c:v>46.148299999999999</c:v>
                </c:pt>
                <c:pt idx="15">
                  <c:v>46.071599999999997</c:v>
                </c:pt>
                <c:pt idx="16">
                  <c:v>46.664099999999998</c:v>
                </c:pt>
                <c:pt idx="17">
                  <c:v>45.172499999999999</c:v>
                </c:pt>
                <c:pt idx="18">
                  <c:v>42.679099999999998</c:v>
                </c:pt>
                <c:pt idx="19">
                  <c:v>42.902500000000003</c:v>
                </c:pt>
                <c:pt idx="20">
                  <c:v>46.000799999999998</c:v>
                </c:pt>
                <c:pt idx="21">
                  <c:v>47.005800000000001</c:v>
                </c:pt>
                <c:pt idx="22">
                  <c:v>46.872500000000002</c:v>
                </c:pt>
                <c:pt idx="23">
                  <c:v>43.096200000000003</c:v>
                </c:pt>
                <c:pt idx="24">
                  <c:v>41.705800000000004</c:v>
                </c:pt>
                <c:pt idx="25">
                  <c:v>40.243699999999997</c:v>
                </c:pt>
                <c:pt idx="26">
                  <c:v>40.551200000000001</c:v>
                </c:pt>
                <c:pt idx="27">
                  <c:v>43.628300000000003</c:v>
                </c:pt>
                <c:pt idx="28">
                  <c:v>41.671599999999998</c:v>
                </c:pt>
                <c:pt idx="29">
                  <c:v>41.643700000000003</c:v>
                </c:pt>
                <c:pt idx="30">
                  <c:v>40.680399999999999</c:v>
                </c:pt>
                <c:pt idx="31">
                  <c:v>39.311999999999998</c:v>
                </c:pt>
                <c:pt idx="32">
                  <c:v>39.582000000000001</c:v>
                </c:pt>
                <c:pt idx="33">
                  <c:v>39.738700000000001</c:v>
                </c:pt>
                <c:pt idx="34">
                  <c:v>42.041200000000003</c:v>
                </c:pt>
                <c:pt idx="35">
                  <c:v>40.780799999999999</c:v>
                </c:pt>
                <c:pt idx="36">
                  <c:v>39.802500000000002</c:v>
                </c:pt>
                <c:pt idx="37">
                  <c:v>39.596200000000003</c:v>
                </c:pt>
                <c:pt idx="38">
                  <c:v>40.322499999999998</c:v>
                </c:pt>
                <c:pt idx="39">
                  <c:v>38.582900000000002</c:v>
                </c:pt>
                <c:pt idx="40">
                  <c:v>38.262</c:v>
                </c:pt>
                <c:pt idx="41">
                  <c:v>41.6708</c:v>
                </c:pt>
                <c:pt idx="42">
                  <c:v>41.893700000000003</c:v>
                </c:pt>
                <c:pt idx="43">
                  <c:v>42.015799999999999</c:v>
                </c:pt>
                <c:pt idx="44">
                  <c:v>44.352499999999999</c:v>
                </c:pt>
                <c:pt idx="45">
                  <c:v>47.881999999999998</c:v>
                </c:pt>
                <c:pt idx="46">
                  <c:v>41.244100000000003</c:v>
                </c:pt>
                <c:pt idx="47">
                  <c:v>38.620399999999997</c:v>
                </c:pt>
                <c:pt idx="48">
                  <c:v>40.797899999999998</c:v>
                </c:pt>
                <c:pt idx="49">
                  <c:v>42.798699999999997</c:v>
                </c:pt>
                <c:pt idx="50">
                  <c:v>41.229100000000003</c:v>
                </c:pt>
                <c:pt idx="51">
                  <c:v>37.7179</c:v>
                </c:pt>
                <c:pt idx="52">
                  <c:v>34.466999999999999</c:v>
                </c:pt>
                <c:pt idx="53">
                  <c:v>32.578699999999998</c:v>
                </c:pt>
                <c:pt idx="54">
                  <c:v>31.262</c:v>
                </c:pt>
                <c:pt idx="55">
                  <c:v>35.158299999999997</c:v>
                </c:pt>
                <c:pt idx="56">
                  <c:v>32.302900000000001</c:v>
                </c:pt>
                <c:pt idx="57">
                  <c:v>29.7683</c:v>
                </c:pt>
                <c:pt idx="58">
                  <c:v>31.9329</c:v>
                </c:pt>
                <c:pt idx="59">
                  <c:v>31.9741</c:v>
                </c:pt>
                <c:pt idx="60">
                  <c:v>28.6387</c:v>
                </c:pt>
                <c:pt idx="61">
                  <c:v>27.753299999999999</c:v>
                </c:pt>
                <c:pt idx="62">
                  <c:v>33.361600000000003</c:v>
                </c:pt>
                <c:pt idx="63">
                  <c:v>34.814500000000002</c:v>
                </c:pt>
                <c:pt idx="64">
                  <c:v>34.972900000000003</c:v>
                </c:pt>
                <c:pt idx="65">
                  <c:v>31.427</c:v>
                </c:pt>
                <c:pt idx="66">
                  <c:v>34.105800000000002</c:v>
                </c:pt>
                <c:pt idx="67">
                  <c:v>27.621600000000001</c:v>
                </c:pt>
                <c:pt idx="68">
                  <c:v>26.75</c:v>
                </c:pt>
                <c:pt idx="69">
                  <c:v>28.6875</c:v>
                </c:pt>
                <c:pt idx="70">
                  <c:v>28.7883</c:v>
                </c:pt>
                <c:pt idx="71">
                  <c:v>27.521599999999999</c:v>
                </c:pt>
                <c:pt idx="72">
                  <c:v>26.317</c:v>
                </c:pt>
                <c:pt idx="73">
                  <c:v>28.614100000000001</c:v>
                </c:pt>
                <c:pt idx="74">
                  <c:v>25.7837</c:v>
                </c:pt>
                <c:pt idx="75">
                  <c:v>24.73</c:v>
                </c:pt>
                <c:pt idx="76">
                  <c:v>26.1083</c:v>
                </c:pt>
                <c:pt idx="77">
                  <c:v>27.604500000000002</c:v>
                </c:pt>
                <c:pt idx="78">
                  <c:v>28.0991</c:v>
                </c:pt>
                <c:pt idx="79">
                  <c:v>27.5045</c:v>
                </c:pt>
                <c:pt idx="80">
                  <c:v>26.561599999999999</c:v>
                </c:pt>
                <c:pt idx="81">
                  <c:v>26.604500000000002</c:v>
                </c:pt>
                <c:pt idx="82">
                  <c:v>27.445399999999999</c:v>
                </c:pt>
                <c:pt idx="83">
                  <c:v>27.922499999999999</c:v>
                </c:pt>
                <c:pt idx="84">
                  <c:v>34.219099999999997</c:v>
                </c:pt>
                <c:pt idx="85">
                  <c:v>35.077500000000001</c:v>
                </c:pt>
                <c:pt idx="86">
                  <c:v>40.935400000000001</c:v>
                </c:pt>
                <c:pt idx="87">
                  <c:v>33.854999999999997</c:v>
                </c:pt>
                <c:pt idx="88">
                  <c:v>26.844999999999999</c:v>
                </c:pt>
                <c:pt idx="89">
                  <c:v>25.903400000000001</c:v>
                </c:pt>
                <c:pt idx="90">
                  <c:v>32.950400000000002</c:v>
                </c:pt>
                <c:pt idx="91">
                  <c:v>32.830800000000004</c:v>
                </c:pt>
                <c:pt idx="92">
                  <c:v>32.612499999999997</c:v>
                </c:pt>
                <c:pt idx="93">
                  <c:v>34.027000000000001</c:v>
                </c:pt>
                <c:pt idx="94">
                  <c:v>33.652000000000001</c:v>
                </c:pt>
                <c:pt idx="95">
                  <c:v>30.872499999999999</c:v>
                </c:pt>
                <c:pt idx="96">
                  <c:v>29.6325</c:v>
                </c:pt>
                <c:pt idx="97">
                  <c:v>37.814100000000003</c:v>
                </c:pt>
                <c:pt idx="98">
                  <c:v>39.6462</c:v>
                </c:pt>
                <c:pt idx="99">
                  <c:v>43.517899999999997</c:v>
                </c:pt>
                <c:pt idx="100">
                  <c:v>45.516599999999997</c:v>
                </c:pt>
                <c:pt idx="101">
                  <c:v>41.686999999999998</c:v>
                </c:pt>
                <c:pt idx="102">
                  <c:v>37.447499999999998</c:v>
                </c:pt>
                <c:pt idx="103">
                  <c:v>34.320399999999999</c:v>
                </c:pt>
                <c:pt idx="104">
                  <c:v>49.337000000000003</c:v>
                </c:pt>
                <c:pt idx="105">
                  <c:v>44.78</c:v>
                </c:pt>
                <c:pt idx="106">
                  <c:v>47.082900000000002</c:v>
                </c:pt>
                <c:pt idx="107">
                  <c:v>45.822899999999997</c:v>
                </c:pt>
                <c:pt idx="108">
                  <c:v>44.41</c:v>
                </c:pt>
                <c:pt idx="109">
                  <c:v>39.924100000000003</c:v>
                </c:pt>
                <c:pt idx="110">
                  <c:v>37.972900000000003</c:v>
                </c:pt>
                <c:pt idx="111">
                  <c:v>45.715000000000003</c:v>
                </c:pt>
                <c:pt idx="112">
                  <c:v>40.165799999999997</c:v>
                </c:pt>
                <c:pt idx="113">
                  <c:v>40.814999999999998</c:v>
                </c:pt>
                <c:pt idx="114">
                  <c:v>40.190800000000003</c:v>
                </c:pt>
                <c:pt idx="115">
                  <c:v>37.731200000000001</c:v>
                </c:pt>
                <c:pt idx="116">
                  <c:v>29.664999999999999</c:v>
                </c:pt>
                <c:pt idx="117">
                  <c:v>26.247499999999999</c:v>
                </c:pt>
                <c:pt idx="118">
                  <c:v>30.736599999999999</c:v>
                </c:pt>
                <c:pt idx="119">
                  <c:v>32.528700000000001</c:v>
                </c:pt>
                <c:pt idx="120">
                  <c:v>29.104500000000002</c:v>
                </c:pt>
                <c:pt idx="121">
                  <c:v>14.6183</c:v>
                </c:pt>
                <c:pt idx="122">
                  <c:v>22.7379</c:v>
                </c:pt>
                <c:pt idx="123">
                  <c:v>15.7704</c:v>
                </c:pt>
                <c:pt idx="124">
                  <c:v>12.256600000000001</c:v>
                </c:pt>
                <c:pt idx="125">
                  <c:v>27.052900000000001</c:v>
                </c:pt>
                <c:pt idx="126">
                  <c:v>27.282499999999999</c:v>
                </c:pt>
                <c:pt idx="127">
                  <c:v>26.795000000000002</c:v>
                </c:pt>
                <c:pt idx="128">
                  <c:v>21.187899999999999</c:v>
                </c:pt>
                <c:pt idx="129">
                  <c:v>22.2362</c:v>
                </c:pt>
                <c:pt idx="130">
                  <c:v>11.952500000000001</c:v>
                </c:pt>
                <c:pt idx="131">
                  <c:v>9.9894999999999996</c:v>
                </c:pt>
                <c:pt idx="132">
                  <c:v>17.064499999999999</c:v>
                </c:pt>
                <c:pt idx="133">
                  <c:v>21.025400000000001</c:v>
                </c:pt>
                <c:pt idx="134">
                  <c:v>26.444500000000001</c:v>
                </c:pt>
                <c:pt idx="135">
                  <c:v>27.697900000000001</c:v>
                </c:pt>
                <c:pt idx="136">
                  <c:v>23.845800000000001</c:v>
                </c:pt>
                <c:pt idx="137">
                  <c:v>20.817499999999999</c:v>
                </c:pt>
                <c:pt idx="138">
                  <c:v>20.7866</c:v>
                </c:pt>
                <c:pt idx="139">
                  <c:v>32.540799999999997</c:v>
                </c:pt>
                <c:pt idx="140">
                  <c:v>35.6295</c:v>
                </c:pt>
                <c:pt idx="141">
                  <c:v>38.785400000000003</c:v>
                </c:pt>
                <c:pt idx="142">
                  <c:v>35.7545</c:v>
                </c:pt>
                <c:pt idx="143">
                  <c:v>37.6462</c:v>
                </c:pt>
                <c:pt idx="144">
                  <c:v>25.2987</c:v>
                </c:pt>
                <c:pt idx="145">
                  <c:v>18.344999999999999</c:v>
                </c:pt>
                <c:pt idx="146">
                  <c:v>35.237900000000003</c:v>
                </c:pt>
                <c:pt idx="147">
                  <c:v>39.128700000000002</c:v>
                </c:pt>
                <c:pt idx="148">
                  <c:v>34.32</c:v>
                </c:pt>
                <c:pt idx="149">
                  <c:v>40.253700000000002</c:v>
                </c:pt>
                <c:pt idx="150">
                  <c:v>33.707000000000001</c:v>
                </c:pt>
                <c:pt idx="151">
                  <c:v>23.556999999999999</c:v>
                </c:pt>
                <c:pt idx="152">
                  <c:v>19.815000000000001</c:v>
                </c:pt>
                <c:pt idx="153">
                  <c:v>45.737900000000003</c:v>
                </c:pt>
                <c:pt idx="154">
                  <c:v>45.212000000000003</c:v>
                </c:pt>
                <c:pt idx="155">
                  <c:v>41.680799999999998</c:v>
                </c:pt>
                <c:pt idx="156">
                  <c:v>40.081200000000003</c:v>
                </c:pt>
                <c:pt idx="157">
                  <c:v>34.11</c:v>
                </c:pt>
                <c:pt idx="158">
                  <c:v>40.2883</c:v>
                </c:pt>
                <c:pt idx="159">
                  <c:v>32.331200000000003</c:v>
                </c:pt>
                <c:pt idx="160">
                  <c:v>41.458300000000001</c:v>
                </c:pt>
                <c:pt idx="161">
                  <c:v>36.644100000000002</c:v>
                </c:pt>
                <c:pt idx="162">
                  <c:v>38.167000000000002</c:v>
                </c:pt>
                <c:pt idx="163">
                  <c:v>41.840800000000002</c:v>
                </c:pt>
                <c:pt idx="164">
                  <c:v>39.591999999999999</c:v>
                </c:pt>
                <c:pt idx="165">
                  <c:v>30.293700000000001</c:v>
                </c:pt>
                <c:pt idx="166">
                  <c:v>34.854500000000002</c:v>
                </c:pt>
                <c:pt idx="167">
                  <c:v>52.694099999999999</c:v>
                </c:pt>
                <c:pt idx="168">
                  <c:v>51.960799999999999</c:v>
                </c:pt>
                <c:pt idx="169">
                  <c:v>49.866999999999997</c:v>
                </c:pt>
                <c:pt idx="170">
                  <c:v>46.876600000000003</c:v>
                </c:pt>
                <c:pt idx="171">
                  <c:v>39.691600000000001</c:v>
                </c:pt>
                <c:pt idx="172">
                  <c:v>37.529499999999999</c:v>
                </c:pt>
                <c:pt idx="173">
                  <c:v>35.718699999999998</c:v>
                </c:pt>
                <c:pt idx="174">
                  <c:v>39.223700000000001</c:v>
                </c:pt>
                <c:pt idx="175">
                  <c:v>45.995800000000003</c:v>
                </c:pt>
                <c:pt idx="176">
                  <c:v>46.966200000000001</c:v>
                </c:pt>
                <c:pt idx="177">
                  <c:v>44.76</c:v>
                </c:pt>
                <c:pt idx="178">
                  <c:v>41.501199999999997</c:v>
                </c:pt>
                <c:pt idx="179">
                  <c:v>39.254100000000001</c:v>
                </c:pt>
                <c:pt idx="180">
                  <c:v>35.695</c:v>
                </c:pt>
                <c:pt idx="181">
                  <c:v>43.853700000000003</c:v>
                </c:pt>
                <c:pt idx="182">
                  <c:v>47.429099999999998</c:v>
                </c:pt>
                <c:pt idx="183">
                  <c:v>48.680799999999998</c:v>
                </c:pt>
                <c:pt idx="184">
                  <c:v>45.571599999999997</c:v>
                </c:pt>
                <c:pt idx="185">
                  <c:v>46.415399999999998</c:v>
                </c:pt>
                <c:pt idx="186">
                  <c:v>43.6691</c:v>
                </c:pt>
                <c:pt idx="187">
                  <c:v>39.142499999999998</c:v>
                </c:pt>
                <c:pt idx="188">
                  <c:v>47.981999999999999</c:v>
                </c:pt>
                <c:pt idx="189">
                  <c:v>48.691200000000002</c:v>
                </c:pt>
                <c:pt idx="190">
                  <c:v>46.742899999999999</c:v>
                </c:pt>
                <c:pt idx="191">
                  <c:v>44.746200000000002</c:v>
                </c:pt>
                <c:pt idx="192">
                  <c:v>41.826599999999999</c:v>
                </c:pt>
                <c:pt idx="193">
                  <c:v>39.505000000000003</c:v>
                </c:pt>
                <c:pt idx="194">
                  <c:v>38.554499999999997</c:v>
                </c:pt>
                <c:pt idx="195">
                  <c:v>42.911200000000001</c:v>
                </c:pt>
                <c:pt idx="196">
                  <c:v>44.509099999999997</c:v>
                </c:pt>
                <c:pt idx="197">
                  <c:v>43.308300000000003</c:v>
                </c:pt>
                <c:pt idx="198">
                  <c:v>45.236600000000003</c:v>
                </c:pt>
                <c:pt idx="199">
                  <c:v>45.346600000000002</c:v>
                </c:pt>
                <c:pt idx="200">
                  <c:v>41.726999999999997</c:v>
                </c:pt>
                <c:pt idx="201">
                  <c:v>29.839099999999998</c:v>
                </c:pt>
                <c:pt idx="202">
                  <c:v>39.278300000000002</c:v>
                </c:pt>
                <c:pt idx="203">
                  <c:v>47.436999999999998</c:v>
                </c:pt>
                <c:pt idx="204">
                  <c:v>44.985799999999998</c:v>
                </c:pt>
                <c:pt idx="205">
                  <c:v>46.060400000000001</c:v>
                </c:pt>
                <c:pt idx="206">
                  <c:v>47.6295</c:v>
                </c:pt>
                <c:pt idx="207">
                  <c:v>45.067500000000003</c:v>
                </c:pt>
                <c:pt idx="208">
                  <c:v>41.000399999999999</c:v>
                </c:pt>
                <c:pt idx="209">
                  <c:v>49.819499999999998</c:v>
                </c:pt>
                <c:pt idx="210">
                  <c:v>48.714500000000001</c:v>
                </c:pt>
                <c:pt idx="211">
                  <c:v>46.933700000000002</c:v>
                </c:pt>
                <c:pt idx="212">
                  <c:v>48.69</c:v>
                </c:pt>
                <c:pt idx="213">
                  <c:v>48.311599999999999</c:v>
                </c:pt>
                <c:pt idx="214">
                  <c:v>44.78</c:v>
                </c:pt>
                <c:pt idx="215">
                  <c:v>39.717500000000001</c:v>
                </c:pt>
                <c:pt idx="216">
                  <c:v>49.319099999999999</c:v>
                </c:pt>
                <c:pt idx="217">
                  <c:v>45.314100000000003</c:v>
                </c:pt>
                <c:pt idx="218">
                  <c:v>50.963299999999997</c:v>
                </c:pt>
                <c:pt idx="219">
                  <c:v>51.196199999999997</c:v>
                </c:pt>
                <c:pt idx="220">
                  <c:v>48.251600000000003</c:v>
                </c:pt>
                <c:pt idx="221">
                  <c:v>46.579099999999997</c:v>
                </c:pt>
                <c:pt idx="222">
                  <c:v>43.769500000000001</c:v>
                </c:pt>
                <c:pt idx="223">
                  <c:v>52.035800000000002</c:v>
                </c:pt>
                <c:pt idx="224">
                  <c:v>55.177500000000002</c:v>
                </c:pt>
                <c:pt idx="225">
                  <c:v>51.405799999999999</c:v>
                </c:pt>
                <c:pt idx="226">
                  <c:v>51.5045</c:v>
                </c:pt>
                <c:pt idx="227">
                  <c:v>52.604999999999997</c:v>
                </c:pt>
                <c:pt idx="228">
                  <c:v>47.392899999999997</c:v>
                </c:pt>
                <c:pt idx="229">
                  <c:v>43.607500000000002</c:v>
                </c:pt>
                <c:pt idx="230">
                  <c:v>57.196599999999997</c:v>
                </c:pt>
                <c:pt idx="231">
                  <c:v>57.347900000000003</c:v>
                </c:pt>
                <c:pt idx="232">
                  <c:v>56.927</c:v>
                </c:pt>
                <c:pt idx="233">
                  <c:v>60.995800000000003</c:v>
                </c:pt>
                <c:pt idx="234">
                  <c:v>61.275799999999997</c:v>
                </c:pt>
                <c:pt idx="235">
                  <c:v>59.542900000000003</c:v>
                </c:pt>
                <c:pt idx="236">
                  <c:v>56.652900000000002</c:v>
                </c:pt>
                <c:pt idx="237">
                  <c:v>63.797499999999999</c:v>
                </c:pt>
                <c:pt idx="238">
                  <c:v>65.098299999999995</c:v>
                </c:pt>
                <c:pt idx="239">
                  <c:v>66.321200000000005</c:v>
                </c:pt>
                <c:pt idx="240">
                  <c:v>66.619500000000002</c:v>
                </c:pt>
                <c:pt idx="241">
                  <c:v>68.956999999999994</c:v>
                </c:pt>
                <c:pt idx="242">
                  <c:v>66.389499999999998</c:v>
                </c:pt>
                <c:pt idx="243">
                  <c:v>64.048299999999998</c:v>
                </c:pt>
                <c:pt idx="244">
                  <c:v>69.563699999999997</c:v>
                </c:pt>
                <c:pt idx="245">
                  <c:v>68.619100000000003</c:v>
                </c:pt>
                <c:pt idx="246">
                  <c:v>67.343699999999998</c:v>
                </c:pt>
                <c:pt idx="247">
                  <c:v>67.987899999999996</c:v>
                </c:pt>
                <c:pt idx="248">
                  <c:v>67.540400000000005</c:v>
                </c:pt>
                <c:pt idx="249">
                  <c:v>65.065799999999996</c:v>
                </c:pt>
                <c:pt idx="250">
                  <c:v>62.305</c:v>
                </c:pt>
                <c:pt idx="251">
                  <c:v>67.051599999999993</c:v>
                </c:pt>
                <c:pt idx="252">
                  <c:v>67.954499999999996</c:v>
                </c:pt>
                <c:pt idx="253">
                  <c:v>67.59</c:v>
                </c:pt>
                <c:pt idx="254">
                  <c:v>66.854500000000002</c:v>
                </c:pt>
                <c:pt idx="255">
                  <c:v>64.802499999999995</c:v>
                </c:pt>
                <c:pt idx="256">
                  <c:v>64.179100000000005</c:v>
                </c:pt>
                <c:pt idx="257">
                  <c:v>63.282499999999999</c:v>
                </c:pt>
                <c:pt idx="258">
                  <c:v>68.868300000000005</c:v>
                </c:pt>
                <c:pt idx="259">
                  <c:v>68.191999999999993</c:v>
                </c:pt>
                <c:pt idx="260">
                  <c:v>66.936999999999998</c:v>
                </c:pt>
                <c:pt idx="261">
                  <c:v>67.487899999999996</c:v>
                </c:pt>
                <c:pt idx="262">
                  <c:v>67.42</c:v>
                </c:pt>
                <c:pt idx="263">
                  <c:v>67.251599999999996</c:v>
                </c:pt>
                <c:pt idx="264">
                  <c:v>65.745400000000004</c:v>
                </c:pt>
                <c:pt idx="265">
                  <c:v>70.894999999999996</c:v>
                </c:pt>
                <c:pt idx="266">
                  <c:v>70.832499999999996</c:v>
                </c:pt>
                <c:pt idx="267">
                  <c:v>71.799499999999995</c:v>
                </c:pt>
                <c:pt idx="268">
                  <c:v>70.849999999999994</c:v>
                </c:pt>
                <c:pt idx="269">
                  <c:v>69.534499999999994</c:v>
                </c:pt>
                <c:pt idx="270">
                  <c:v>66.330799999999996</c:v>
                </c:pt>
                <c:pt idx="271">
                  <c:v>64.721199999999996</c:v>
                </c:pt>
                <c:pt idx="272">
                  <c:v>69.454099999999997</c:v>
                </c:pt>
                <c:pt idx="273">
                  <c:v>67.561199999999999</c:v>
                </c:pt>
                <c:pt idx="274">
                  <c:v>65.604100000000003</c:v>
                </c:pt>
                <c:pt idx="275">
                  <c:v>66.441999999999993</c:v>
                </c:pt>
                <c:pt idx="276">
                  <c:v>66.318299999999994</c:v>
                </c:pt>
                <c:pt idx="277">
                  <c:v>64.194999999999993</c:v>
                </c:pt>
                <c:pt idx="278">
                  <c:v>61.951999999999998</c:v>
                </c:pt>
                <c:pt idx="279">
                  <c:v>66.007000000000005</c:v>
                </c:pt>
                <c:pt idx="280">
                  <c:v>65.413700000000006</c:v>
                </c:pt>
                <c:pt idx="281">
                  <c:v>64.637500000000003</c:v>
                </c:pt>
                <c:pt idx="282">
                  <c:v>62.591200000000001</c:v>
                </c:pt>
                <c:pt idx="283">
                  <c:v>60.52</c:v>
                </c:pt>
                <c:pt idx="284">
                  <c:v>57.684100000000001</c:v>
                </c:pt>
                <c:pt idx="285">
                  <c:v>55.807000000000002</c:v>
                </c:pt>
                <c:pt idx="286">
                  <c:v>57.281999999999996</c:v>
                </c:pt>
                <c:pt idx="287">
                  <c:v>55.951999999999998</c:v>
                </c:pt>
                <c:pt idx="288">
                  <c:v>56.575000000000003</c:v>
                </c:pt>
                <c:pt idx="289">
                  <c:v>55.566200000000002</c:v>
                </c:pt>
                <c:pt idx="290">
                  <c:v>54.022500000000001</c:v>
                </c:pt>
                <c:pt idx="291">
                  <c:v>52.272500000000001</c:v>
                </c:pt>
                <c:pt idx="292">
                  <c:v>50.354500000000002</c:v>
                </c:pt>
                <c:pt idx="293">
                  <c:v>50.085799999999999</c:v>
                </c:pt>
                <c:pt idx="294">
                  <c:v>50.359499999999997</c:v>
                </c:pt>
                <c:pt idx="295">
                  <c:v>53.353700000000003</c:v>
                </c:pt>
                <c:pt idx="296">
                  <c:v>51.888300000000001</c:v>
                </c:pt>
                <c:pt idx="297">
                  <c:v>49.154499999999999</c:v>
                </c:pt>
                <c:pt idx="298">
                  <c:v>49.396999999999998</c:v>
                </c:pt>
                <c:pt idx="299">
                  <c:v>42.643599999999999</c:v>
                </c:pt>
                <c:pt idx="300">
                  <c:v>50.311599999999999</c:v>
                </c:pt>
                <c:pt idx="301">
                  <c:v>52.022500000000001</c:v>
                </c:pt>
                <c:pt idx="302">
                  <c:v>52.9116</c:v>
                </c:pt>
                <c:pt idx="303">
                  <c:v>54.955399999999997</c:v>
                </c:pt>
                <c:pt idx="304">
                  <c:v>55.028300000000002</c:v>
                </c:pt>
                <c:pt idx="305">
                  <c:v>52.164999999999999</c:v>
                </c:pt>
                <c:pt idx="306">
                  <c:v>51.471600000000002</c:v>
                </c:pt>
                <c:pt idx="307">
                  <c:v>53.8279</c:v>
                </c:pt>
                <c:pt idx="308">
                  <c:v>55.363300000000002</c:v>
                </c:pt>
                <c:pt idx="309">
                  <c:v>54.164499999999997</c:v>
                </c:pt>
                <c:pt idx="310">
                  <c:v>54.2012</c:v>
                </c:pt>
                <c:pt idx="311">
                  <c:v>54.766199999999998</c:v>
                </c:pt>
                <c:pt idx="312">
                  <c:v>53.418300000000002</c:v>
                </c:pt>
                <c:pt idx="313">
                  <c:v>49.2804</c:v>
                </c:pt>
                <c:pt idx="314">
                  <c:v>50.894500000000001</c:v>
                </c:pt>
                <c:pt idx="315">
                  <c:v>52.069499999999998</c:v>
                </c:pt>
                <c:pt idx="316">
                  <c:v>53.259500000000003</c:v>
                </c:pt>
                <c:pt idx="317">
                  <c:v>54.4116</c:v>
                </c:pt>
                <c:pt idx="318">
                  <c:v>52.7012</c:v>
                </c:pt>
                <c:pt idx="319">
                  <c:v>48.486600000000003</c:v>
                </c:pt>
                <c:pt idx="320">
                  <c:v>48.13</c:v>
                </c:pt>
                <c:pt idx="321">
                  <c:v>54.1875</c:v>
                </c:pt>
                <c:pt idx="322">
                  <c:v>50.932000000000002</c:v>
                </c:pt>
                <c:pt idx="323">
                  <c:v>50.1158</c:v>
                </c:pt>
                <c:pt idx="324">
                  <c:v>49.442</c:v>
                </c:pt>
                <c:pt idx="325">
                  <c:v>49.9375</c:v>
                </c:pt>
                <c:pt idx="326">
                  <c:v>46.454999999999998</c:v>
                </c:pt>
                <c:pt idx="327">
                  <c:v>46.905000000000001</c:v>
                </c:pt>
                <c:pt idx="328">
                  <c:v>60.576599999999999</c:v>
                </c:pt>
                <c:pt idx="329">
                  <c:v>57.120399999999997</c:v>
                </c:pt>
                <c:pt idx="330">
                  <c:v>48.206600000000002</c:v>
                </c:pt>
                <c:pt idx="331">
                  <c:v>45.966200000000001</c:v>
                </c:pt>
                <c:pt idx="332">
                  <c:v>46.338700000000003</c:v>
                </c:pt>
                <c:pt idx="333">
                  <c:v>46.6462</c:v>
                </c:pt>
                <c:pt idx="334">
                  <c:v>46.580800000000004</c:v>
                </c:pt>
                <c:pt idx="335">
                  <c:v>54.8262</c:v>
                </c:pt>
                <c:pt idx="336">
                  <c:v>48.476599999999998</c:v>
                </c:pt>
                <c:pt idx="337">
                  <c:v>49.989100000000001</c:v>
                </c:pt>
                <c:pt idx="338">
                  <c:v>48.414499999999997</c:v>
                </c:pt>
                <c:pt idx="339">
                  <c:v>47.272500000000001</c:v>
                </c:pt>
                <c:pt idx="340">
                  <c:v>43.639099999999999</c:v>
                </c:pt>
                <c:pt idx="341">
                  <c:v>43.130400000000002</c:v>
                </c:pt>
                <c:pt idx="342">
                  <c:v>45.914099999999998</c:v>
                </c:pt>
                <c:pt idx="343">
                  <c:v>54.71</c:v>
                </c:pt>
                <c:pt idx="344">
                  <c:v>52.781599999999997</c:v>
                </c:pt>
                <c:pt idx="345">
                  <c:v>52.803699999999999</c:v>
                </c:pt>
                <c:pt idx="346">
                  <c:v>48.160400000000003</c:v>
                </c:pt>
                <c:pt idx="347">
                  <c:v>44.522500000000001</c:v>
                </c:pt>
                <c:pt idx="348">
                  <c:v>42.658700000000003</c:v>
                </c:pt>
                <c:pt idx="349">
                  <c:v>50.345799999999997</c:v>
                </c:pt>
                <c:pt idx="350">
                  <c:v>45.824100000000001</c:v>
                </c:pt>
                <c:pt idx="351">
                  <c:v>43.422499999999999</c:v>
                </c:pt>
                <c:pt idx="352">
                  <c:v>41.684100000000001</c:v>
                </c:pt>
                <c:pt idx="353">
                  <c:v>39.731999999999999</c:v>
                </c:pt>
                <c:pt idx="354">
                  <c:v>37.173699999999997</c:v>
                </c:pt>
                <c:pt idx="355">
                  <c:v>37.483699999999999</c:v>
                </c:pt>
                <c:pt idx="356">
                  <c:v>40.025799999999997</c:v>
                </c:pt>
                <c:pt idx="357">
                  <c:v>41.0304</c:v>
                </c:pt>
                <c:pt idx="358">
                  <c:v>38.520400000000002</c:v>
                </c:pt>
                <c:pt idx="359">
                  <c:v>37.7483</c:v>
                </c:pt>
                <c:pt idx="360">
                  <c:v>38.879100000000001</c:v>
                </c:pt>
                <c:pt idx="361">
                  <c:v>41.059100000000001</c:v>
                </c:pt>
                <c:pt idx="362">
                  <c:v>40.962499999999999</c:v>
                </c:pt>
                <c:pt idx="363">
                  <c:v>43.387</c:v>
                </c:pt>
                <c:pt idx="364">
                  <c:v>43.648699999999998</c:v>
                </c:pt>
                <c:pt idx="365">
                  <c:v>41.877499999999998</c:v>
                </c:pt>
                <c:pt idx="366">
                  <c:v>41.258699999999997</c:v>
                </c:pt>
                <c:pt idx="367">
                  <c:v>47.5687</c:v>
                </c:pt>
                <c:pt idx="368">
                  <c:v>41.668300000000002</c:v>
                </c:pt>
                <c:pt idx="369">
                  <c:v>42.26</c:v>
                </c:pt>
                <c:pt idx="370">
                  <c:v>46.15</c:v>
                </c:pt>
                <c:pt idx="371">
                  <c:v>42.82</c:v>
                </c:pt>
                <c:pt idx="372">
                  <c:v>57.26</c:v>
                </c:pt>
                <c:pt idx="373">
                  <c:v>44.79</c:v>
                </c:pt>
                <c:pt idx="374">
                  <c:v>41.67</c:v>
                </c:pt>
                <c:pt idx="375">
                  <c:v>40.97</c:v>
                </c:pt>
                <c:pt idx="376">
                  <c:v>37.69</c:v>
                </c:pt>
                <c:pt idx="377">
                  <c:v>39.049999999999997</c:v>
                </c:pt>
                <c:pt idx="378">
                  <c:v>40.24</c:v>
                </c:pt>
                <c:pt idx="379">
                  <c:v>42.53</c:v>
                </c:pt>
                <c:pt idx="380">
                  <c:v>45.55</c:v>
                </c:pt>
                <c:pt idx="381">
                  <c:v>42.34</c:v>
                </c:pt>
                <c:pt idx="382">
                  <c:v>40.090000000000003</c:v>
                </c:pt>
                <c:pt idx="383">
                  <c:v>37.909999999999997</c:v>
                </c:pt>
                <c:pt idx="384">
                  <c:v>40.57</c:v>
                </c:pt>
                <c:pt idx="385">
                  <c:v>39.700000000000003</c:v>
                </c:pt>
                <c:pt idx="386">
                  <c:v>38.93</c:v>
                </c:pt>
                <c:pt idx="387">
                  <c:v>37.67</c:v>
                </c:pt>
                <c:pt idx="388">
                  <c:v>37.47</c:v>
                </c:pt>
                <c:pt idx="389">
                  <c:v>36.56</c:v>
                </c:pt>
                <c:pt idx="390">
                  <c:v>37.11</c:v>
                </c:pt>
                <c:pt idx="391">
                  <c:v>39.61</c:v>
                </c:pt>
                <c:pt idx="392">
                  <c:v>40.86</c:v>
                </c:pt>
                <c:pt idx="393">
                  <c:v>40.83</c:v>
                </c:pt>
                <c:pt idx="394">
                  <c:v>41.3</c:v>
                </c:pt>
                <c:pt idx="395">
                  <c:v>40.93</c:v>
                </c:pt>
                <c:pt idx="396">
                  <c:v>40.33</c:v>
                </c:pt>
                <c:pt idx="397">
                  <c:v>38.61</c:v>
                </c:pt>
                <c:pt idx="398">
                  <c:v>41.43</c:v>
                </c:pt>
                <c:pt idx="399">
                  <c:v>41.38</c:v>
                </c:pt>
                <c:pt idx="400">
                  <c:v>41.92</c:v>
                </c:pt>
                <c:pt idx="401">
                  <c:v>41.26</c:v>
                </c:pt>
                <c:pt idx="402">
                  <c:v>40.6</c:v>
                </c:pt>
                <c:pt idx="403">
                  <c:v>39.68</c:v>
                </c:pt>
                <c:pt idx="404">
                  <c:v>39.200000000000003</c:v>
                </c:pt>
                <c:pt idx="405">
                  <c:v>42.3</c:v>
                </c:pt>
                <c:pt idx="406">
                  <c:v>41.34</c:v>
                </c:pt>
                <c:pt idx="407">
                  <c:v>41.08</c:v>
                </c:pt>
                <c:pt idx="408">
                  <c:v>40.840000000000003</c:v>
                </c:pt>
                <c:pt idx="409">
                  <c:v>40.950000000000003</c:v>
                </c:pt>
                <c:pt idx="410">
                  <c:v>38.65</c:v>
                </c:pt>
                <c:pt idx="411">
                  <c:v>37.72</c:v>
                </c:pt>
                <c:pt idx="412">
                  <c:v>40.64</c:v>
                </c:pt>
                <c:pt idx="413">
                  <c:v>39.51</c:v>
                </c:pt>
                <c:pt idx="414">
                  <c:v>38.42</c:v>
                </c:pt>
                <c:pt idx="415">
                  <c:v>36.99</c:v>
                </c:pt>
                <c:pt idx="416">
                  <c:v>36.24</c:v>
                </c:pt>
                <c:pt idx="417">
                  <c:v>35</c:v>
                </c:pt>
                <c:pt idx="418">
                  <c:v>33.369999999999997</c:v>
                </c:pt>
                <c:pt idx="419">
                  <c:v>35.270000000000003</c:v>
                </c:pt>
                <c:pt idx="420">
                  <c:v>35.409999999999997</c:v>
                </c:pt>
                <c:pt idx="421">
                  <c:v>33.770000000000003</c:v>
                </c:pt>
                <c:pt idx="422">
                  <c:v>32.4</c:v>
                </c:pt>
                <c:pt idx="423">
                  <c:v>32.92</c:v>
                </c:pt>
                <c:pt idx="424">
                  <c:v>32.92</c:v>
                </c:pt>
                <c:pt idx="425">
                  <c:v>31.95</c:v>
                </c:pt>
                <c:pt idx="426">
                  <c:v>33.71</c:v>
                </c:pt>
                <c:pt idx="427">
                  <c:v>33.6</c:v>
                </c:pt>
                <c:pt idx="428">
                  <c:v>32.53</c:v>
                </c:pt>
                <c:pt idx="429">
                  <c:v>33.06</c:v>
                </c:pt>
                <c:pt idx="430">
                  <c:v>33.619999999999997</c:v>
                </c:pt>
                <c:pt idx="431">
                  <c:v>33.19</c:v>
                </c:pt>
                <c:pt idx="432">
                  <c:v>32.340000000000003</c:v>
                </c:pt>
                <c:pt idx="433">
                  <c:v>36.11</c:v>
                </c:pt>
                <c:pt idx="434">
                  <c:v>38.799999999999997</c:v>
                </c:pt>
                <c:pt idx="435">
                  <c:v>37.15</c:v>
                </c:pt>
                <c:pt idx="436">
                  <c:v>37.99</c:v>
                </c:pt>
                <c:pt idx="437">
                  <c:v>34.85</c:v>
                </c:pt>
                <c:pt idx="438">
                  <c:v>33.630000000000003</c:v>
                </c:pt>
                <c:pt idx="439">
                  <c:v>33.57</c:v>
                </c:pt>
                <c:pt idx="440">
                  <c:v>35.36</c:v>
                </c:pt>
                <c:pt idx="441">
                  <c:v>33.96</c:v>
                </c:pt>
                <c:pt idx="442">
                  <c:v>34.869999999999997</c:v>
                </c:pt>
                <c:pt idx="443">
                  <c:v>35.54</c:v>
                </c:pt>
                <c:pt idx="444">
                  <c:v>35.32</c:v>
                </c:pt>
                <c:pt idx="445">
                  <c:v>33.700000000000003</c:v>
                </c:pt>
                <c:pt idx="446">
                  <c:v>32.07</c:v>
                </c:pt>
                <c:pt idx="447">
                  <c:v>34.520000000000003</c:v>
                </c:pt>
                <c:pt idx="448">
                  <c:v>36.76</c:v>
                </c:pt>
                <c:pt idx="449">
                  <c:v>37.65</c:v>
                </c:pt>
                <c:pt idx="450">
                  <c:v>38.01</c:v>
                </c:pt>
                <c:pt idx="451">
                  <c:v>36.549999999999997</c:v>
                </c:pt>
                <c:pt idx="452">
                  <c:v>35.54</c:v>
                </c:pt>
                <c:pt idx="453">
                  <c:v>35.270000000000003</c:v>
                </c:pt>
                <c:pt idx="454">
                  <c:v>38.76</c:v>
                </c:pt>
                <c:pt idx="455">
                  <c:v>36.799999999999997</c:v>
                </c:pt>
                <c:pt idx="456">
                  <c:v>39.6</c:v>
                </c:pt>
                <c:pt idx="457">
                  <c:v>36.85</c:v>
                </c:pt>
                <c:pt idx="458">
                  <c:v>37.79</c:v>
                </c:pt>
                <c:pt idx="459">
                  <c:v>35.799999999999997</c:v>
                </c:pt>
                <c:pt idx="460">
                  <c:v>35.119999999999997</c:v>
                </c:pt>
                <c:pt idx="461">
                  <c:v>36.83</c:v>
                </c:pt>
                <c:pt idx="462">
                  <c:v>36.11</c:v>
                </c:pt>
                <c:pt idx="463">
                  <c:v>35.380000000000003</c:v>
                </c:pt>
                <c:pt idx="464">
                  <c:v>34.9</c:v>
                </c:pt>
                <c:pt idx="465">
                  <c:v>31.21</c:v>
                </c:pt>
                <c:pt idx="466">
                  <c:v>31.07</c:v>
                </c:pt>
                <c:pt idx="467">
                  <c:v>28.12</c:v>
                </c:pt>
                <c:pt idx="468">
                  <c:v>29.82</c:v>
                </c:pt>
                <c:pt idx="469">
                  <c:v>34.75</c:v>
                </c:pt>
                <c:pt idx="470">
                  <c:v>34.43</c:v>
                </c:pt>
                <c:pt idx="471">
                  <c:v>32.5</c:v>
                </c:pt>
                <c:pt idx="472">
                  <c:v>33.630000000000003</c:v>
                </c:pt>
                <c:pt idx="473">
                  <c:v>33.51</c:v>
                </c:pt>
                <c:pt idx="474">
                  <c:v>32.42</c:v>
                </c:pt>
                <c:pt idx="475">
                  <c:v>36.99</c:v>
                </c:pt>
                <c:pt idx="476">
                  <c:v>37.200000000000003</c:v>
                </c:pt>
                <c:pt idx="477">
                  <c:v>36.090000000000003</c:v>
                </c:pt>
                <c:pt idx="478">
                  <c:v>36.590000000000003</c:v>
                </c:pt>
                <c:pt idx="479">
                  <c:v>35.46</c:v>
                </c:pt>
                <c:pt idx="480">
                  <c:v>30.17</c:v>
                </c:pt>
                <c:pt idx="481">
                  <c:v>29.46</c:v>
                </c:pt>
                <c:pt idx="482">
                  <c:v>33.29</c:v>
                </c:pt>
                <c:pt idx="483">
                  <c:v>30.56</c:v>
                </c:pt>
                <c:pt idx="484">
                  <c:v>33.14</c:v>
                </c:pt>
                <c:pt idx="485">
                  <c:v>32.29</c:v>
                </c:pt>
                <c:pt idx="486">
                  <c:v>27.38</c:v>
                </c:pt>
                <c:pt idx="487">
                  <c:v>28.05</c:v>
                </c:pt>
                <c:pt idx="488">
                  <c:v>24.27</c:v>
                </c:pt>
                <c:pt idx="489">
                  <c:v>32.58</c:v>
                </c:pt>
                <c:pt idx="490">
                  <c:v>29.09</c:v>
                </c:pt>
                <c:pt idx="491">
                  <c:v>32.51</c:v>
                </c:pt>
                <c:pt idx="492">
                  <c:v>32.369999999999997</c:v>
                </c:pt>
                <c:pt idx="493">
                  <c:v>32.64</c:v>
                </c:pt>
                <c:pt idx="494">
                  <c:v>29.1</c:v>
                </c:pt>
                <c:pt idx="495">
                  <c:v>29.49</c:v>
                </c:pt>
                <c:pt idx="496">
                  <c:v>34.74</c:v>
                </c:pt>
                <c:pt idx="497">
                  <c:v>34.659999999999997</c:v>
                </c:pt>
                <c:pt idx="498">
                  <c:v>36.130000000000003</c:v>
                </c:pt>
                <c:pt idx="499">
                  <c:v>36.78</c:v>
                </c:pt>
                <c:pt idx="500">
                  <c:v>35.07</c:v>
                </c:pt>
                <c:pt idx="501">
                  <c:v>34.04</c:v>
                </c:pt>
                <c:pt idx="502">
                  <c:v>33.17</c:v>
                </c:pt>
                <c:pt idx="503">
                  <c:v>36.799999999999997</c:v>
                </c:pt>
                <c:pt idx="504">
                  <c:v>36.26</c:v>
                </c:pt>
                <c:pt idx="505">
                  <c:v>36.36</c:v>
                </c:pt>
                <c:pt idx="506">
                  <c:v>32.96</c:v>
                </c:pt>
                <c:pt idx="507">
                  <c:v>34.5</c:v>
                </c:pt>
                <c:pt idx="508">
                  <c:v>31.33</c:v>
                </c:pt>
                <c:pt idx="509">
                  <c:v>32.950000000000003</c:v>
                </c:pt>
                <c:pt idx="510">
                  <c:v>36.9</c:v>
                </c:pt>
                <c:pt idx="511">
                  <c:v>35.520000000000003</c:v>
                </c:pt>
                <c:pt idx="512">
                  <c:v>33.31</c:v>
                </c:pt>
                <c:pt idx="513">
                  <c:v>34.479999999999997</c:v>
                </c:pt>
                <c:pt idx="514">
                  <c:v>35.74</c:v>
                </c:pt>
                <c:pt idx="515">
                  <c:v>30.3</c:v>
                </c:pt>
                <c:pt idx="516">
                  <c:v>23.39</c:v>
                </c:pt>
                <c:pt idx="517">
                  <c:v>30.67</c:v>
                </c:pt>
                <c:pt idx="518">
                  <c:v>34.64</c:v>
                </c:pt>
                <c:pt idx="519">
                  <c:v>34.76</c:v>
                </c:pt>
                <c:pt idx="520">
                  <c:v>36.979999999999997</c:v>
                </c:pt>
                <c:pt idx="521">
                  <c:v>38.4</c:v>
                </c:pt>
                <c:pt idx="522">
                  <c:v>35.58</c:v>
                </c:pt>
                <c:pt idx="523">
                  <c:v>35.32</c:v>
                </c:pt>
                <c:pt idx="524">
                  <c:v>38.74</c:v>
                </c:pt>
                <c:pt idx="525">
                  <c:v>39.11</c:v>
                </c:pt>
                <c:pt idx="526">
                  <c:v>38.65</c:v>
                </c:pt>
                <c:pt idx="527">
                  <c:v>36.909999999999997</c:v>
                </c:pt>
                <c:pt idx="528">
                  <c:v>35.5</c:v>
                </c:pt>
                <c:pt idx="529">
                  <c:v>32.630000000000003</c:v>
                </c:pt>
                <c:pt idx="530">
                  <c:v>32.92</c:v>
                </c:pt>
                <c:pt idx="531">
                  <c:v>37.28</c:v>
                </c:pt>
                <c:pt idx="532">
                  <c:v>36.5</c:v>
                </c:pt>
                <c:pt idx="533">
                  <c:v>35.72</c:v>
                </c:pt>
                <c:pt idx="534">
                  <c:v>33.92</c:v>
                </c:pt>
                <c:pt idx="535">
                  <c:v>33.86</c:v>
                </c:pt>
                <c:pt idx="536">
                  <c:v>29.86</c:v>
                </c:pt>
                <c:pt idx="537">
                  <c:v>28.84</c:v>
                </c:pt>
                <c:pt idx="538">
                  <c:v>36.79</c:v>
                </c:pt>
                <c:pt idx="539">
                  <c:v>35.92</c:v>
                </c:pt>
                <c:pt idx="540">
                  <c:v>36.130000000000003</c:v>
                </c:pt>
                <c:pt idx="541">
                  <c:v>35.68</c:v>
                </c:pt>
                <c:pt idx="542">
                  <c:v>35.74</c:v>
                </c:pt>
                <c:pt idx="543">
                  <c:v>32.96</c:v>
                </c:pt>
                <c:pt idx="544">
                  <c:v>33.86</c:v>
                </c:pt>
                <c:pt idx="545">
                  <c:v>38.049999999999997</c:v>
                </c:pt>
                <c:pt idx="546">
                  <c:v>39.200000000000003</c:v>
                </c:pt>
                <c:pt idx="547">
                  <c:v>39.25</c:v>
                </c:pt>
                <c:pt idx="548">
                  <c:v>39.01</c:v>
                </c:pt>
                <c:pt idx="549">
                  <c:v>38.369999999999997</c:v>
                </c:pt>
                <c:pt idx="550">
                  <c:v>36.950000000000003</c:v>
                </c:pt>
                <c:pt idx="551">
                  <c:v>35.590000000000003</c:v>
                </c:pt>
                <c:pt idx="552">
                  <c:v>38.42</c:v>
                </c:pt>
                <c:pt idx="553">
                  <c:v>37.51</c:v>
                </c:pt>
                <c:pt idx="554">
                  <c:v>36.76</c:v>
                </c:pt>
                <c:pt idx="555">
                  <c:v>35.299999999999997</c:v>
                </c:pt>
                <c:pt idx="556">
                  <c:v>34.97</c:v>
                </c:pt>
                <c:pt idx="557">
                  <c:v>32.880000000000003</c:v>
                </c:pt>
                <c:pt idx="558">
                  <c:v>32.92</c:v>
                </c:pt>
                <c:pt idx="559">
                  <c:v>34.25</c:v>
                </c:pt>
                <c:pt idx="560">
                  <c:v>34.47</c:v>
                </c:pt>
                <c:pt idx="561">
                  <c:v>34.729999999999997</c:v>
                </c:pt>
                <c:pt idx="562">
                  <c:v>34.549999999999997</c:v>
                </c:pt>
                <c:pt idx="563">
                  <c:v>34.78</c:v>
                </c:pt>
                <c:pt idx="564">
                  <c:v>32.85</c:v>
                </c:pt>
                <c:pt idx="565">
                  <c:v>28.35</c:v>
                </c:pt>
                <c:pt idx="566">
                  <c:v>33.409999999999997</c:v>
                </c:pt>
                <c:pt idx="567">
                  <c:v>30.45</c:v>
                </c:pt>
                <c:pt idx="568">
                  <c:v>33.5</c:v>
                </c:pt>
                <c:pt idx="569">
                  <c:v>31.31</c:v>
                </c:pt>
                <c:pt idx="570">
                  <c:v>31.37</c:v>
                </c:pt>
                <c:pt idx="571">
                  <c:v>30.36</c:v>
                </c:pt>
                <c:pt idx="572">
                  <c:v>18.510000000000002</c:v>
                </c:pt>
                <c:pt idx="573">
                  <c:v>25.85</c:v>
                </c:pt>
                <c:pt idx="574">
                  <c:v>28.28</c:v>
                </c:pt>
                <c:pt idx="575">
                  <c:v>30.14</c:v>
                </c:pt>
                <c:pt idx="576">
                  <c:v>25.28</c:v>
                </c:pt>
                <c:pt idx="577">
                  <c:v>26.61</c:v>
                </c:pt>
                <c:pt idx="578">
                  <c:v>30.16</c:v>
                </c:pt>
                <c:pt idx="579">
                  <c:v>28.55</c:v>
                </c:pt>
                <c:pt idx="580">
                  <c:v>32.369999999999997</c:v>
                </c:pt>
                <c:pt idx="581">
                  <c:v>31.247</c:v>
                </c:pt>
                <c:pt idx="582">
                  <c:v>31.766999999999999</c:v>
                </c:pt>
                <c:pt idx="583">
                  <c:v>32.081200000000003</c:v>
                </c:pt>
                <c:pt idx="584">
                  <c:v>31.7791</c:v>
                </c:pt>
                <c:pt idx="585">
                  <c:v>30.142900000000001</c:v>
                </c:pt>
                <c:pt idx="586">
                  <c:v>30.595400000000001</c:v>
                </c:pt>
                <c:pt idx="587">
                  <c:v>33.555399999999999</c:v>
                </c:pt>
                <c:pt idx="588">
                  <c:v>33.8095</c:v>
                </c:pt>
                <c:pt idx="589">
                  <c:v>33.726599999999998</c:v>
                </c:pt>
                <c:pt idx="590">
                  <c:v>33.786200000000001</c:v>
                </c:pt>
                <c:pt idx="591">
                  <c:v>33.722900000000003</c:v>
                </c:pt>
                <c:pt idx="592">
                  <c:v>32.503700000000002</c:v>
                </c:pt>
                <c:pt idx="593">
                  <c:v>30.5366</c:v>
                </c:pt>
                <c:pt idx="594">
                  <c:v>34.733699999999999</c:v>
                </c:pt>
                <c:pt idx="595">
                  <c:v>33.767499999999998</c:v>
                </c:pt>
                <c:pt idx="596">
                  <c:v>33.965400000000002</c:v>
                </c:pt>
                <c:pt idx="597">
                  <c:v>32.554099999999998</c:v>
                </c:pt>
                <c:pt idx="598">
                  <c:v>32.6008</c:v>
                </c:pt>
                <c:pt idx="599">
                  <c:v>32.969499999999996</c:v>
                </c:pt>
                <c:pt idx="600">
                  <c:v>31.6525</c:v>
                </c:pt>
                <c:pt idx="601">
                  <c:v>35.366199999999999</c:v>
                </c:pt>
                <c:pt idx="602">
                  <c:v>35.296599999999998</c:v>
                </c:pt>
                <c:pt idx="603">
                  <c:v>34.3262</c:v>
                </c:pt>
                <c:pt idx="604">
                  <c:v>34.741999999999997</c:v>
                </c:pt>
                <c:pt idx="605">
                  <c:v>32.385800000000003</c:v>
                </c:pt>
                <c:pt idx="606">
                  <c:v>29.1145</c:v>
                </c:pt>
                <c:pt idx="607">
                  <c:v>28.401199999999999</c:v>
                </c:pt>
                <c:pt idx="608">
                  <c:v>32.577500000000001</c:v>
                </c:pt>
                <c:pt idx="609">
                  <c:v>32.776200000000003</c:v>
                </c:pt>
                <c:pt idx="610">
                  <c:v>33.508699999999997</c:v>
                </c:pt>
                <c:pt idx="611">
                  <c:v>32.1858</c:v>
                </c:pt>
                <c:pt idx="612">
                  <c:v>29.411200000000001</c:v>
                </c:pt>
                <c:pt idx="613">
                  <c:v>26.832000000000001</c:v>
                </c:pt>
                <c:pt idx="614">
                  <c:v>24.8691</c:v>
                </c:pt>
                <c:pt idx="615">
                  <c:v>30.605799999999999</c:v>
                </c:pt>
                <c:pt idx="616">
                  <c:v>31.678699999999999</c:v>
                </c:pt>
                <c:pt idx="617">
                  <c:v>30.981999999999999</c:v>
                </c:pt>
                <c:pt idx="618">
                  <c:v>31.1633</c:v>
                </c:pt>
                <c:pt idx="619">
                  <c:v>29.691199999999998</c:v>
                </c:pt>
                <c:pt idx="620">
                  <c:v>27.797000000000001</c:v>
                </c:pt>
                <c:pt idx="621">
                  <c:v>26.018699999999999</c:v>
                </c:pt>
                <c:pt idx="622">
                  <c:v>29.689499999999999</c:v>
                </c:pt>
                <c:pt idx="623">
                  <c:v>30.23</c:v>
                </c:pt>
                <c:pt idx="624">
                  <c:v>30.433299999999999</c:v>
                </c:pt>
                <c:pt idx="625">
                  <c:v>30.077500000000001</c:v>
                </c:pt>
                <c:pt idx="626">
                  <c:v>29.363700000000001</c:v>
                </c:pt>
                <c:pt idx="627">
                  <c:v>26.767499999999998</c:v>
                </c:pt>
                <c:pt idx="628">
                  <c:v>25.418700000000001</c:v>
                </c:pt>
                <c:pt idx="629">
                  <c:v>28.765000000000001</c:v>
                </c:pt>
                <c:pt idx="630">
                  <c:v>27.690799999999999</c:v>
                </c:pt>
                <c:pt idx="631">
                  <c:v>27.396599999999999</c:v>
                </c:pt>
                <c:pt idx="632">
                  <c:v>26.9391</c:v>
                </c:pt>
                <c:pt idx="633">
                  <c:v>27.185400000000001</c:v>
                </c:pt>
                <c:pt idx="634">
                  <c:v>24.159500000000001</c:v>
                </c:pt>
                <c:pt idx="635">
                  <c:v>21.764099999999999</c:v>
                </c:pt>
                <c:pt idx="636">
                  <c:v>26.055399999999999</c:v>
                </c:pt>
                <c:pt idx="637">
                  <c:v>28.1845</c:v>
                </c:pt>
                <c:pt idx="638">
                  <c:v>30.6587</c:v>
                </c:pt>
                <c:pt idx="639">
                  <c:v>30.9041</c:v>
                </c:pt>
                <c:pt idx="640">
                  <c:v>30.425799999999999</c:v>
                </c:pt>
                <c:pt idx="641">
                  <c:v>24.7883</c:v>
                </c:pt>
                <c:pt idx="642">
                  <c:v>19.734500000000001</c:v>
                </c:pt>
                <c:pt idx="643">
                  <c:v>29.693300000000001</c:v>
                </c:pt>
                <c:pt idx="644">
                  <c:v>31.031600000000001</c:v>
                </c:pt>
                <c:pt idx="645">
                  <c:v>29.2529</c:v>
                </c:pt>
                <c:pt idx="646">
                  <c:v>31.706199999999999</c:v>
                </c:pt>
                <c:pt idx="647">
                  <c:v>32.1158</c:v>
                </c:pt>
                <c:pt idx="648">
                  <c:v>30.8079</c:v>
                </c:pt>
                <c:pt idx="649">
                  <c:v>30.184999999999999</c:v>
                </c:pt>
                <c:pt idx="650">
                  <c:v>32.6633</c:v>
                </c:pt>
                <c:pt idx="651">
                  <c:v>34.759099999999997</c:v>
                </c:pt>
                <c:pt idx="652">
                  <c:v>34.904499999999999</c:v>
                </c:pt>
                <c:pt idx="653">
                  <c:v>36.042900000000003</c:v>
                </c:pt>
                <c:pt idx="654">
                  <c:v>34.737499999999997</c:v>
                </c:pt>
                <c:pt idx="655">
                  <c:v>33.714100000000002</c:v>
                </c:pt>
                <c:pt idx="656">
                  <c:v>34.3279</c:v>
                </c:pt>
                <c:pt idx="657">
                  <c:v>36.6</c:v>
                </c:pt>
                <c:pt idx="658">
                  <c:v>37.549999999999997</c:v>
                </c:pt>
                <c:pt idx="659">
                  <c:v>37.049999999999997</c:v>
                </c:pt>
                <c:pt idx="660">
                  <c:v>36.92</c:v>
                </c:pt>
                <c:pt idx="661">
                  <c:v>37.119999999999997</c:v>
                </c:pt>
                <c:pt idx="662">
                  <c:v>35.99</c:v>
                </c:pt>
                <c:pt idx="663">
                  <c:v>34.58</c:v>
                </c:pt>
                <c:pt idx="664">
                  <c:v>37.237000000000002</c:v>
                </c:pt>
                <c:pt idx="665">
                  <c:v>37.885399999999997</c:v>
                </c:pt>
                <c:pt idx="666">
                  <c:v>38.746600000000001</c:v>
                </c:pt>
                <c:pt idx="667">
                  <c:v>38.726599999999998</c:v>
                </c:pt>
                <c:pt idx="668">
                  <c:v>39.440399999999997</c:v>
                </c:pt>
                <c:pt idx="669">
                  <c:v>36.965000000000003</c:v>
                </c:pt>
                <c:pt idx="670">
                  <c:v>35.625799999999998</c:v>
                </c:pt>
                <c:pt idx="671">
                  <c:v>38.3504</c:v>
                </c:pt>
                <c:pt idx="672">
                  <c:v>37.870399999999997</c:v>
                </c:pt>
                <c:pt idx="673">
                  <c:v>37.844499999999996</c:v>
                </c:pt>
                <c:pt idx="674">
                  <c:v>38.0745</c:v>
                </c:pt>
                <c:pt idx="675">
                  <c:v>38.430399999999999</c:v>
                </c:pt>
                <c:pt idx="676">
                  <c:v>36.655000000000001</c:v>
                </c:pt>
                <c:pt idx="677">
                  <c:v>37.1845</c:v>
                </c:pt>
                <c:pt idx="678">
                  <c:v>38.6479</c:v>
                </c:pt>
                <c:pt idx="679">
                  <c:v>39.5154</c:v>
                </c:pt>
                <c:pt idx="680">
                  <c:v>39.939100000000003</c:v>
                </c:pt>
                <c:pt idx="681">
                  <c:v>43.723300000000002</c:v>
                </c:pt>
                <c:pt idx="682">
                  <c:v>39.014099999999999</c:v>
                </c:pt>
                <c:pt idx="683">
                  <c:v>35.895800000000001</c:v>
                </c:pt>
                <c:pt idx="684">
                  <c:v>35.551600000000001</c:v>
                </c:pt>
                <c:pt idx="685">
                  <c:v>37.922899999999998</c:v>
                </c:pt>
                <c:pt idx="686">
                  <c:v>36.915399999999998</c:v>
                </c:pt>
                <c:pt idx="687">
                  <c:v>36.351999999999997</c:v>
                </c:pt>
                <c:pt idx="688">
                  <c:v>36.104500000000002</c:v>
                </c:pt>
                <c:pt idx="689">
                  <c:v>34.574100000000001</c:v>
                </c:pt>
                <c:pt idx="690">
                  <c:v>33.491599999999998</c:v>
                </c:pt>
                <c:pt idx="691">
                  <c:v>31.818300000000001</c:v>
                </c:pt>
                <c:pt idx="692">
                  <c:v>33.707900000000002</c:v>
                </c:pt>
                <c:pt idx="693">
                  <c:v>35.1066</c:v>
                </c:pt>
                <c:pt idx="694">
                  <c:v>34.962899999999998</c:v>
                </c:pt>
                <c:pt idx="695">
                  <c:v>32.844999999999999</c:v>
                </c:pt>
                <c:pt idx="696">
                  <c:v>33.945</c:v>
                </c:pt>
                <c:pt idx="697">
                  <c:v>32.735799999999998</c:v>
                </c:pt>
                <c:pt idx="698">
                  <c:v>33.149500000000003</c:v>
                </c:pt>
                <c:pt idx="699">
                  <c:v>35.548299999999998</c:v>
                </c:pt>
                <c:pt idx="700">
                  <c:v>35.979999999999997</c:v>
                </c:pt>
                <c:pt idx="701">
                  <c:v>41.911200000000001</c:v>
                </c:pt>
                <c:pt idx="702">
                  <c:v>38.179499999999997</c:v>
                </c:pt>
                <c:pt idx="703">
                  <c:v>36.126600000000003</c:v>
                </c:pt>
                <c:pt idx="704">
                  <c:v>34.237499999999997</c:v>
                </c:pt>
                <c:pt idx="705">
                  <c:v>33.439500000000002</c:v>
                </c:pt>
                <c:pt idx="706">
                  <c:v>36.343299999999999</c:v>
                </c:pt>
                <c:pt idx="707">
                  <c:v>36.488300000000002</c:v>
                </c:pt>
                <c:pt idx="708">
                  <c:v>37.7712</c:v>
                </c:pt>
                <c:pt idx="709">
                  <c:v>37.512900000000002</c:v>
                </c:pt>
                <c:pt idx="710">
                  <c:v>37.3108</c:v>
                </c:pt>
                <c:pt idx="711">
                  <c:v>36.484499999999997</c:v>
                </c:pt>
                <c:pt idx="712">
                  <c:v>36.218699999999998</c:v>
                </c:pt>
                <c:pt idx="713">
                  <c:v>39.451999999999998</c:v>
                </c:pt>
                <c:pt idx="714">
                  <c:v>43.866999999999997</c:v>
                </c:pt>
                <c:pt idx="715">
                  <c:v>43.273699999999998</c:v>
                </c:pt>
                <c:pt idx="716">
                  <c:v>61.223300000000002</c:v>
                </c:pt>
                <c:pt idx="717">
                  <c:v>49.387500000000003</c:v>
                </c:pt>
                <c:pt idx="718">
                  <c:v>39.880000000000003</c:v>
                </c:pt>
                <c:pt idx="719">
                  <c:v>39.18</c:v>
                </c:pt>
                <c:pt idx="720">
                  <c:v>44.69</c:v>
                </c:pt>
                <c:pt idx="721">
                  <c:v>41.53</c:v>
                </c:pt>
                <c:pt idx="722">
                  <c:v>39.520000000000003</c:v>
                </c:pt>
                <c:pt idx="723">
                  <c:v>37.4</c:v>
                </c:pt>
                <c:pt idx="724">
                  <c:v>35.880000000000003</c:v>
                </c:pt>
                <c:pt idx="725">
                  <c:v>36.18</c:v>
                </c:pt>
                <c:pt idx="726">
                  <c:v>37.5</c:v>
                </c:pt>
                <c:pt idx="727">
                  <c:v>39.57</c:v>
                </c:pt>
                <c:pt idx="728">
                  <c:v>40.01</c:v>
                </c:pt>
                <c:pt idx="729">
                  <c:v>40.799999999999997</c:v>
                </c:pt>
                <c:pt idx="730">
                  <c:v>40.299999999999997</c:v>
                </c:pt>
                <c:pt idx="731">
                  <c:v>39.67</c:v>
                </c:pt>
                <c:pt idx="732">
                  <c:v>43</c:v>
                </c:pt>
                <c:pt idx="733">
                  <c:v>42.27</c:v>
                </c:pt>
                <c:pt idx="734">
                  <c:v>53.67</c:v>
                </c:pt>
                <c:pt idx="735">
                  <c:v>49.71</c:v>
                </c:pt>
                <c:pt idx="736">
                  <c:v>48.3</c:v>
                </c:pt>
                <c:pt idx="737">
                  <c:v>86.66</c:v>
                </c:pt>
                <c:pt idx="738">
                  <c:v>94.03</c:v>
                </c:pt>
                <c:pt idx="739">
                  <c:v>46.46</c:v>
                </c:pt>
                <c:pt idx="740">
                  <c:v>46.08</c:v>
                </c:pt>
                <c:pt idx="741">
                  <c:v>61.84</c:v>
                </c:pt>
                <c:pt idx="742">
                  <c:v>54.78</c:v>
                </c:pt>
                <c:pt idx="743">
                  <c:v>48.98</c:v>
                </c:pt>
                <c:pt idx="744">
                  <c:v>51.94</c:v>
                </c:pt>
                <c:pt idx="745">
                  <c:v>56.15</c:v>
                </c:pt>
                <c:pt idx="746">
                  <c:v>44.72</c:v>
                </c:pt>
                <c:pt idx="747">
                  <c:v>44.32</c:v>
                </c:pt>
                <c:pt idx="748">
                  <c:v>48.95</c:v>
                </c:pt>
                <c:pt idx="749">
                  <c:v>48.92</c:v>
                </c:pt>
                <c:pt idx="750">
                  <c:v>47.5</c:v>
                </c:pt>
                <c:pt idx="751">
                  <c:v>49.81</c:v>
                </c:pt>
                <c:pt idx="752">
                  <c:v>48.31</c:v>
                </c:pt>
                <c:pt idx="753">
                  <c:v>47.35</c:v>
                </c:pt>
                <c:pt idx="754">
                  <c:v>46.7</c:v>
                </c:pt>
                <c:pt idx="755">
                  <c:v>61.082000000000001</c:v>
                </c:pt>
                <c:pt idx="756">
                  <c:v>61.84</c:v>
                </c:pt>
                <c:pt idx="757">
                  <c:v>51.328299999999999</c:v>
                </c:pt>
                <c:pt idx="758">
                  <c:v>52.362000000000002</c:v>
                </c:pt>
                <c:pt idx="759">
                  <c:v>68.564099999999996</c:v>
                </c:pt>
                <c:pt idx="760">
                  <c:v>54.195799999999998</c:v>
                </c:pt>
                <c:pt idx="761">
                  <c:v>55.364100000000001</c:v>
                </c:pt>
                <c:pt idx="762">
                  <c:v>65.906599999999997</c:v>
                </c:pt>
                <c:pt idx="763">
                  <c:v>58.908700000000003</c:v>
                </c:pt>
                <c:pt idx="764">
                  <c:v>59.503700000000002</c:v>
                </c:pt>
                <c:pt idx="765">
                  <c:v>59.8337</c:v>
                </c:pt>
                <c:pt idx="766">
                  <c:v>55.809100000000001</c:v>
                </c:pt>
                <c:pt idx="767">
                  <c:v>51.102899999999998</c:v>
                </c:pt>
                <c:pt idx="768">
                  <c:v>51.399099999999997</c:v>
                </c:pt>
                <c:pt idx="769">
                  <c:v>58.95</c:v>
                </c:pt>
                <c:pt idx="770">
                  <c:v>60.15</c:v>
                </c:pt>
                <c:pt idx="771">
                  <c:v>57.97</c:v>
                </c:pt>
                <c:pt idx="772">
                  <c:v>61.71</c:v>
                </c:pt>
                <c:pt idx="773">
                  <c:v>61.94</c:v>
                </c:pt>
                <c:pt idx="774">
                  <c:v>59.47</c:v>
                </c:pt>
                <c:pt idx="775">
                  <c:v>59.54</c:v>
                </c:pt>
                <c:pt idx="776">
                  <c:v>67.09</c:v>
                </c:pt>
                <c:pt idx="777">
                  <c:v>63.54</c:v>
                </c:pt>
                <c:pt idx="778">
                  <c:v>63.84</c:v>
                </c:pt>
                <c:pt idx="779">
                  <c:v>66.63</c:v>
                </c:pt>
                <c:pt idx="780">
                  <c:v>70.400000000000006</c:v>
                </c:pt>
                <c:pt idx="781">
                  <c:v>73.7</c:v>
                </c:pt>
                <c:pt idx="782">
                  <c:v>82.01</c:v>
                </c:pt>
                <c:pt idx="783">
                  <c:v>134.80000000000001</c:v>
                </c:pt>
                <c:pt idx="784">
                  <c:v>98.08</c:v>
                </c:pt>
                <c:pt idx="785">
                  <c:v>92.7</c:v>
                </c:pt>
                <c:pt idx="786">
                  <c:v>88.7</c:v>
                </c:pt>
                <c:pt idx="787">
                  <c:v>78.39</c:v>
                </c:pt>
                <c:pt idx="788">
                  <c:v>64.94</c:v>
                </c:pt>
                <c:pt idx="789">
                  <c:v>62.87</c:v>
                </c:pt>
                <c:pt idx="790">
                  <c:v>68.22</c:v>
                </c:pt>
                <c:pt idx="791">
                  <c:v>72.64</c:v>
                </c:pt>
                <c:pt idx="792">
                  <c:v>72.03</c:v>
                </c:pt>
                <c:pt idx="793">
                  <c:v>71.84</c:v>
                </c:pt>
                <c:pt idx="794">
                  <c:v>69.89</c:v>
                </c:pt>
                <c:pt idx="795">
                  <c:v>70.42</c:v>
                </c:pt>
                <c:pt idx="796">
                  <c:v>65.180000000000007</c:v>
                </c:pt>
                <c:pt idx="797">
                  <c:v>69.09</c:v>
                </c:pt>
                <c:pt idx="798">
                  <c:v>67.430000000000007</c:v>
                </c:pt>
                <c:pt idx="799">
                  <c:v>63.08</c:v>
                </c:pt>
                <c:pt idx="800">
                  <c:v>60.31</c:v>
                </c:pt>
                <c:pt idx="801">
                  <c:v>58.74</c:v>
                </c:pt>
                <c:pt idx="802">
                  <c:v>55.64</c:v>
                </c:pt>
                <c:pt idx="803">
                  <c:v>55.43</c:v>
                </c:pt>
                <c:pt idx="804">
                  <c:v>60.4</c:v>
                </c:pt>
                <c:pt idx="805">
                  <c:v>59.12</c:v>
                </c:pt>
                <c:pt idx="806">
                  <c:v>55.92</c:v>
                </c:pt>
                <c:pt idx="807">
                  <c:v>52.48</c:v>
                </c:pt>
                <c:pt idx="808">
                  <c:v>50.01</c:v>
                </c:pt>
                <c:pt idx="809">
                  <c:v>49.01</c:v>
                </c:pt>
                <c:pt idx="810">
                  <c:v>49.67</c:v>
                </c:pt>
                <c:pt idx="811">
                  <c:v>53.34</c:v>
                </c:pt>
                <c:pt idx="812">
                  <c:v>50.8</c:v>
                </c:pt>
                <c:pt idx="813">
                  <c:v>49.57</c:v>
                </c:pt>
                <c:pt idx="814">
                  <c:v>47.36</c:v>
                </c:pt>
                <c:pt idx="815">
                  <c:v>46.19</c:v>
                </c:pt>
                <c:pt idx="816">
                  <c:v>44.31</c:v>
                </c:pt>
                <c:pt idx="817">
                  <c:v>44.29</c:v>
                </c:pt>
                <c:pt idx="818">
                  <c:v>45.49</c:v>
                </c:pt>
                <c:pt idx="819">
                  <c:v>44.88</c:v>
                </c:pt>
                <c:pt idx="820">
                  <c:v>44.85</c:v>
                </c:pt>
                <c:pt idx="821">
                  <c:v>44.94</c:v>
                </c:pt>
                <c:pt idx="822">
                  <c:v>44.52</c:v>
                </c:pt>
                <c:pt idx="823">
                  <c:v>44.01</c:v>
                </c:pt>
                <c:pt idx="824">
                  <c:v>44.36</c:v>
                </c:pt>
                <c:pt idx="825">
                  <c:v>44.957000000000001</c:v>
                </c:pt>
                <c:pt idx="826">
                  <c:v>49.084099999999999</c:v>
                </c:pt>
                <c:pt idx="827">
                  <c:v>47.825800000000001</c:v>
                </c:pt>
                <c:pt idx="828">
                  <c:v>47.413699999999999</c:v>
                </c:pt>
                <c:pt idx="829">
                  <c:v>47.091999999999999</c:v>
                </c:pt>
                <c:pt idx="830">
                  <c:v>46.314999999999998</c:v>
                </c:pt>
                <c:pt idx="831">
                  <c:v>46.2804</c:v>
                </c:pt>
                <c:pt idx="832">
                  <c:v>48.771999999999998</c:v>
                </c:pt>
                <c:pt idx="833">
                  <c:v>49.0854</c:v>
                </c:pt>
                <c:pt idx="834">
                  <c:v>48.45</c:v>
                </c:pt>
                <c:pt idx="835">
                  <c:v>47.705800000000004</c:v>
                </c:pt>
                <c:pt idx="836">
                  <c:v>46.094999999999999</c:v>
                </c:pt>
                <c:pt idx="837">
                  <c:v>45.320799999999998</c:v>
                </c:pt>
                <c:pt idx="838">
                  <c:v>44.855800000000002</c:v>
                </c:pt>
                <c:pt idx="839">
                  <c:v>48.034500000000001</c:v>
                </c:pt>
                <c:pt idx="840">
                  <c:v>47.094099999999997</c:v>
                </c:pt>
                <c:pt idx="841">
                  <c:v>46.998699999999999</c:v>
                </c:pt>
                <c:pt idx="842">
                  <c:v>47.543300000000002</c:v>
                </c:pt>
                <c:pt idx="843">
                  <c:v>47.8658</c:v>
                </c:pt>
                <c:pt idx="844">
                  <c:v>46.096200000000003</c:v>
                </c:pt>
                <c:pt idx="845">
                  <c:v>45.749099999999999</c:v>
                </c:pt>
                <c:pt idx="846">
                  <c:v>47.903300000000002</c:v>
                </c:pt>
                <c:pt idx="847">
                  <c:v>47.793700000000001</c:v>
                </c:pt>
                <c:pt idx="848">
                  <c:v>48.8337</c:v>
                </c:pt>
                <c:pt idx="849">
                  <c:v>48.139499999999998</c:v>
                </c:pt>
                <c:pt idx="850">
                  <c:v>46.8504</c:v>
                </c:pt>
                <c:pt idx="851">
                  <c:v>43.9895</c:v>
                </c:pt>
                <c:pt idx="852">
                  <c:v>46.335799999999999</c:v>
                </c:pt>
                <c:pt idx="853">
                  <c:v>51.180799999999998</c:v>
                </c:pt>
                <c:pt idx="854">
                  <c:v>50.593699999999998</c:v>
                </c:pt>
                <c:pt idx="855">
                  <c:v>50.709099999999999</c:v>
                </c:pt>
                <c:pt idx="856">
                  <c:v>50.643700000000003</c:v>
                </c:pt>
                <c:pt idx="857">
                  <c:v>50.1387</c:v>
                </c:pt>
                <c:pt idx="858">
                  <c:v>49.293700000000001</c:v>
                </c:pt>
                <c:pt idx="859">
                  <c:v>49.508699999999997</c:v>
                </c:pt>
                <c:pt idx="860">
                  <c:v>53.741599999999998</c:v>
                </c:pt>
                <c:pt idx="861">
                  <c:v>52.304099999999998</c:v>
                </c:pt>
                <c:pt idx="862">
                  <c:v>50.973300000000002</c:v>
                </c:pt>
                <c:pt idx="863">
                  <c:v>48.762500000000003</c:v>
                </c:pt>
                <c:pt idx="864">
                  <c:v>49.365400000000001</c:v>
                </c:pt>
                <c:pt idx="865">
                  <c:v>44.783700000000003</c:v>
                </c:pt>
                <c:pt idx="866">
                  <c:v>30.0425</c:v>
                </c:pt>
                <c:pt idx="867">
                  <c:v>43.354999999999997</c:v>
                </c:pt>
                <c:pt idx="868">
                  <c:v>45.719499999999996</c:v>
                </c:pt>
                <c:pt idx="869">
                  <c:v>38.9116</c:v>
                </c:pt>
                <c:pt idx="870">
                  <c:v>41.519500000000001</c:v>
                </c:pt>
                <c:pt idx="871">
                  <c:v>38.963299999999997</c:v>
                </c:pt>
                <c:pt idx="872">
                  <c:v>26.499500000000001</c:v>
                </c:pt>
                <c:pt idx="873">
                  <c:v>21.766200000000001</c:v>
                </c:pt>
                <c:pt idx="874">
                  <c:v>32.354999999999997</c:v>
                </c:pt>
                <c:pt idx="875">
                  <c:v>40.459499999999998</c:v>
                </c:pt>
                <c:pt idx="876">
                  <c:v>46.3795</c:v>
                </c:pt>
                <c:pt idx="877">
                  <c:v>45.2958</c:v>
                </c:pt>
                <c:pt idx="878">
                  <c:v>44.5045</c:v>
                </c:pt>
                <c:pt idx="879">
                  <c:v>35.378300000000003</c:v>
                </c:pt>
                <c:pt idx="880">
                  <c:v>20.6737</c:v>
                </c:pt>
                <c:pt idx="881">
                  <c:v>38.189500000000002</c:v>
                </c:pt>
                <c:pt idx="882">
                  <c:v>42.707000000000001</c:v>
                </c:pt>
                <c:pt idx="883">
                  <c:v>44.768700000000003</c:v>
                </c:pt>
                <c:pt idx="884">
                  <c:v>40.799500000000002</c:v>
                </c:pt>
                <c:pt idx="885">
                  <c:v>45.104500000000002</c:v>
                </c:pt>
                <c:pt idx="886">
                  <c:v>42.317</c:v>
                </c:pt>
                <c:pt idx="887">
                  <c:v>39.491999999999997</c:v>
                </c:pt>
                <c:pt idx="888">
                  <c:v>46.968699999999998</c:v>
                </c:pt>
                <c:pt idx="889">
                  <c:v>50.31</c:v>
                </c:pt>
                <c:pt idx="890">
                  <c:v>49.61</c:v>
                </c:pt>
                <c:pt idx="891">
                  <c:v>49.558700000000002</c:v>
                </c:pt>
                <c:pt idx="892">
                  <c:v>47.919499999999999</c:v>
                </c:pt>
                <c:pt idx="893">
                  <c:v>37.209499999999998</c:v>
                </c:pt>
                <c:pt idx="894">
                  <c:v>28.41</c:v>
                </c:pt>
                <c:pt idx="895">
                  <c:v>47.534100000000002</c:v>
                </c:pt>
                <c:pt idx="896">
                  <c:v>47.166600000000003</c:v>
                </c:pt>
                <c:pt idx="897">
                  <c:v>49.293700000000001</c:v>
                </c:pt>
                <c:pt idx="898">
                  <c:v>50.591999999999999</c:v>
                </c:pt>
                <c:pt idx="899">
                  <c:v>46.019500000000001</c:v>
                </c:pt>
                <c:pt idx="900">
                  <c:v>42.190399999999997</c:v>
                </c:pt>
                <c:pt idx="901">
                  <c:v>40.050800000000002</c:v>
                </c:pt>
                <c:pt idx="902">
                  <c:v>47.554099999999998</c:v>
                </c:pt>
                <c:pt idx="903">
                  <c:v>47.9</c:v>
                </c:pt>
                <c:pt idx="904">
                  <c:v>46.913699999999999</c:v>
                </c:pt>
                <c:pt idx="905">
                  <c:v>47.484099999999998</c:v>
                </c:pt>
                <c:pt idx="906">
                  <c:v>42.153300000000002</c:v>
                </c:pt>
                <c:pt idx="907">
                  <c:v>39.6691</c:v>
                </c:pt>
                <c:pt idx="908">
                  <c:v>39.304499999999997</c:v>
                </c:pt>
                <c:pt idx="909">
                  <c:v>47.527500000000003</c:v>
                </c:pt>
                <c:pt idx="910">
                  <c:v>47.247900000000001</c:v>
                </c:pt>
                <c:pt idx="911">
                  <c:v>49.057000000000002</c:v>
                </c:pt>
                <c:pt idx="912">
                  <c:v>50.122500000000002</c:v>
                </c:pt>
                <c:pt idx="913">
                  <c:v>49.62</c:v>
                </c:pt>
                <c:pt idx="914">
                  <c:v>45.311999999999998</c:v>
                </c:pt>
                <c:pt idx="915">
                  <c:v>46.058700000000002</c:v>
                </c:pt>
                <c:pt idx="916">
                  <c:v>49.2241</c:v>
                </c:pt>
                <c:pt idx="917">
                  <c:v>48.698300000000003</c:v>
                </c:pt>
                <c:pt idx="918">
                  <c:v>48.9895</c:v>
                </c:pt>
                <c:pt idx="919">
                  <c:v>49.075400000000002</c:v>
                </c:pt>
                <c:pt idx="920">
                  <c:v>49.7866</c:v>
                </c:pt>
                <c:pt idx="921">
                  <c:v>46.314999999999998</c:v>
                </c:pt>
                <c:pt idx="922">
                  <c:v>43.916200000000003</c:v>
                </c:pt>
                <c:pt idx="923">
                  <c:v>48.379100000000001</c:v>
                </c:pt>
                <c:pt idx="924">
                  <c:v>48.476999999999997</c:v>
                </c:pt>
                <c:pt idx="925">
                  <c:v>48.4</c:v>
                </c:pt>
                <c:pt idx="926">
                  <c:v>48.025799999999997</c:v>
                </c:pt>
                <c:pt idx="927">
                  <c:v>48.082000000000001</c:v>
                </c:pt>
                <c:pt idx="928">
                  <c:v>45.045000000000002</c:v>
                </c:pt>
                <c:pt idx="929">
                  <c:v>43.194099999999999</c:v>
                </c:pt>
                <c:pt idx="930">
                  <c:v>47.027500000000003</c:v>
                </c:pt>
                <c:pt idx="931">
                  <c:v>45.916200000000003</c:v>
                </c:pt>
                <c:pt idx="932">
                  <c:v>45.408299999999997</c:v>
                </c:pt>
                <c:pt idx="933">
                  <c:v>44.101599999999998</c:v>
                </c:pt>
                <c:pt idx="934">
                  <c:v>44.104100000000003</c:v>
                </c:pt>
                <c:pt idx="935">
                  <c:v>40.252899999999997</c:v>
                </c:pt>
                <c:pt idx="936">
                  <c:v>37.958300000000001</c:v>
                </c:pt>
                <c:pt idx="937">
                  <c:v>44.82</c:v>
                </c:pt>
                <c:pt idx="938">
                  <c:v>43.724499999999999</c:v>
                </c:pt>
                <c:pt idx="939">
                  <c:v>41.438699999999997</c:v>
                </c:pt>
                <c:pt idx="940">
                  <c:v>41.085799999999999</c:v>
                </c:pt>
                <c:pt idx="941">
                  <c:v>38.550800000000002</c:v>
                </c:pt>
                <c:pt idx="942">
                  <c:v>37.130400000000002</c:v>
                </c:pt>
                <c:pt idx="943">
                  <c:v>29.8887</c:v>
                </c:pt>
                <c:pt idx="944">
                  <c:v>41.735399999999998</c:v>
                </c:pt>
                <c:pt idx="945">
                  <c:v>40.884099999999997</c:v>
                </c:pt>
                <c:pt idx="946">
                  <c:v>40.086599999999997</c:v>
                </c:pt>
                <c:pt idx="947">
                  <c:v>39.808700000000002</c:v>
                </c:pt>
                <c:pt idx="948">
                  <c:v>40.269100000000002</c:v>
                </c:pt>
                <c:pt idx="949">
                  <c:v>36.096200000000003</c:v>
                </c:pt>
                <c:pt idx="950">
                  <c:v>31.008700000000001</c:v>
                </c:pt>
                <c:pt idx="951">
                  <c:v>42.792000000000002</c:v>
                </c:pt>
                <c:pt idx="952">
                  <c:v>43.804099999999998</c:v>
                </c:pt>
                <c:pt idx="953">
                  <c:v>43.755000000000003</c:v>
                </c:pt>
                <c:pt idx="954">
                  <c:v>44.677500000000002</c:v>
                </c:pt>
                <c:pt idx="955">
                  <c:v>44.466200000000001</c:v>
                </c:pt>
                <c:pt idx="956">
                  <c:v>42.330800000000004</c:v>
                </c:pt>
                <c:pt idx="957">
                  <c:v>40.588700000000003</c:v>
                </c:pt>
                <c:pt idx="958">
                  <c:v>44.757899999999999</c:v>
                </c:pt>
                <c:pt idx="959">
                  <c:v>46.603700000000003</c:v>
                </c:pt>
                <c:pt idx="960">
                  <c:v>46.080800000000004</c:v>
                </c:pt>
                <c:pt idx="961">
                  <c:v>44.759099999999997</c:v>
                </c:pt>
                <c:pt idx="962">
                  <c:v>44.838700000000003</c:v>
                </c:pt>
                <c:pt idx="963">
                  <c:v>42.834499999999998</c:v>
                </c:pt>
                <c:pt idx="964">
                  <c:v>42.744999999999997</c:v>
                </c:pt>
                <c:pt idx="965">
                  <c:v>45.436199999999999</c:v>
                </c:pt>
                <c:pt idx="966">
                  <c:v>44.409100000000002</c:v>
                </c:pt>
                <c:pt idx="967">
                  <c:v>44.264099999999999</c:v>
                </c:pt>
                <c:pt idx="968">
                  <c:v>45.988700000000001</c:v>
                </c:pt>
                <c:pt idx="969">
                  <c:v>46.903300000000002</c:v>
                </c:pt>
                <c:pt idx="970">
                  <c:v>45.430799999999998</c:v>
                </c:pt>
                <c:pt idx="971">
                  <c:v>45.041200000000003</c:v>
                </c:pt>
                <c:pt idx="972">
                  <c:v>48.143300000000004</c:v>
                </c:pt>
                <c:pt idx="973">
                  <c:v>49.177</c:v>
                </c:pt>
                <c:pt idx="974">
                  <c:v>49.367899999999999</c:v>
                </c:pt>
                <c:pt idx="975">
                  <c:v>49.603700000000003</c:v>
                </c:pt>
                <c:pt idx="976">
                  <c:v>49.658299999999997</c:v>
                </c:pt>
                <c:pt idx="977">
                  <c:v>49.4116</c:v>
                </c:pt>
                <c:pt idx="978">
                  <c:v>49.114100000000001</c:v>
                </c:pt>
                <c:pt idx="979">
                  <c:v>50.709499999999998</c:v>
                </c:pt>
                <c:pt idx="980">
                  <c:v>49.8125</c:v>
                </c:pt>
                <c:pt idx="981">
                  <c:v>49.474499999999999</c:v>
                </c:pt>
                <c:pt idx="982">
                  <c:v>49.900399999999998</c:v>
                </c:pt>
                <c:pt idx="983">
                  <c:v>49.7</c:v>
                </c:pt>
                <c:pt idx="984">
                  <c:v>47.354100000000003</c:v>
                </c:pt>
                <c:pt idx="985">
                  <c:v>47.601999999999997</c:v>
                </c:pt>
                <c:pt idx="986">
                  <c:v>50.8904</c:v>
                </c:pt>
                <c:pt idx="987">
                  <c:v>48.778700000000001</c:v>
                </c:pt>
                <c:pt idx="988">
                  <c:v>48.722000000000001</c:v>
                </c:pt>
                <c:pt idx="989">
                  <c:v>49.473700000000001</c:v>
                </c:pt>
                <c:pt idx="990">
                  <c:v>49.285400000000003</c:v>
                </c:pt>
                <c:pt idx="991">
                  <c:v>47.7804</c:v>
                </c:pt>
                <c:pt idx="992">
                  <c:v>47.231200000000001</c:v>
                </c:pt>
                <c:pt idx="993">
                  <c:v>49.508699999999997</c:v>
                </c:pt>
                <c:pt idx="994">
                  <c:v>50.671199999999999</c:v>
                </c:pt>
                <c:pt idx="995">
                  <c:v>51.091200000000001</c:v>
                </c:pt>
                <c:pt idx="996">
                  <c:v>50.393700000000003</c:v>
                </c:pt>
                <c:pt idx="997">
                  <c:v>50.082500000000003</c:v>
                </c:pt>
                <c:pt idx="998">
                  <c:v>48.077500000000001</c:v>
                </c:pt>
                <c:pt idx="999">
                  <c:v>47.908299999999997</c:v>
                </c:pt>
                <c:pt idx="1000">
                  <c:v>49.530799999999999</c:v>
                </c:pt>
                <c:pt idx="1001">
                  <c:v>49.761200000000002</c:v>
                </c:pt>
                <c:pt idx="1002">
                  <c:v>50.192</c:v>
                </c:pt>
                <c:pt idx="1003">
                  <c:v>50.004100000000001</c:v>
                </c:pt>
                <c:pt idx="1004">
                  <c:v>49.863700000000001</c:v>
                </c:pt>
                <c:pt idx="1005">
                  <c:v>47.1554</c:v>
                </c:pt>
                <c:pt idx="1006">
                  <c:v>46.837000000000003</c:v>
                </c:pt>
                <c:pt idx="1007">
                  <c:v>48.042900000000003</c:v>
                </c:pt>
                <c:pt idx="1008">
                  <c:v>48.891199999999998</c:v>
                </c:pt>
                <c:pt idx="1009">
                  <c:v>48.638300000000001</c:v>
                </c:pt>
                <c:pt idx="1010">
                  <c:v>48.803699999999999</c:v>
                </c:pt>
                <c:pt idx="1011">
                  <c:v>48.8491</c:v>
                </c:pt>
                <c:pt idx="1012">
                  <c:v>46.3504</c:v>
                </c:pt>
                <c:pt idx="1013">
                  <c:v>47.017499999999998</c:v>
                </c:pt>
                <c:pt idx="1014">
                  <c:v>49.715800000000002</c:v>
                </c:pt>
                <c:pt idx="1015">
                  <c:v>50.883299999999998</c:v>
                </c:pt>
                <c:pt idx="1016">
                  <c:v>51.291600000000003</c:v>
                </c:pt>
                <c:pt idx="1017">
                  <c:v>51.302500000000002</c:v>
                </c:pt>
                <c:pt idx="1018">
                  <c:v>52.219099999999997</c:v>
                </c:pt>
                <c:pt idx="1019">
                  <c:v>49.9041</c:v>
                </c:pt>
                <c:pt idx="1020">
                  <c:v>50.057899999999997</c:v>
                </c:pt>
                <c:pt idx="1021">
                  <c:v>51.335000000000001</c:v>
                </c:pt>
                <c:pt idx="1022">
                  <c:v>51.167499999999997</c:v>
                </c:pt>
                <c:pt idx="1023">
                  <c:v>51.185400000000001</c:v>
                </c:pt>
                <c:pt idx="1024">
                  <c:v>51.91</c:v>
                </c:pt>
                <c:pt idx="1025">
                  <c:v>51.7637</c:v>
                </c:pt>
                <c:pt idx="1026">
                  <c:v>49.8125</c:v>
                </c:pt>
                <c:pt idx="1027">
                  <c:v>49.217500000000001</c:v>
                </c:pt>
                <c:pt idx="1028">
                  <c:v>53.063699999999997</c:v>
                </c:pt>
                <c:pt idx="1029">
                  <c:v>53.088700000000003</c:v>
                </c:pt>
                <c:pt idx="1030">
                  <c:v>50.76</c:v>
                </c:pt>
                <c:pt idx="1031">
                  <c:v>47.097499999999997</c:v>
                </c:pt>
                <c:pt idx="1032">
                  <c:v>48.978700000000003</c:v>
                </c:pt>
                <c:pt idx="1033">
                  <c:v>47.23</c:v>
                </c:pt>
                <c:pt idx="1034">
                  <c:v>46.994799999999998</c:v>
                </c:pt>
                <c:pt idx="1035">
                  <c:v>48.590400000000002</c:v>
                </c:pt>
                <c:pt idx="1036">
                  <c:v>48.682000000000002</c:v>
                </c:pt>
                <c:pt idx="1037">
                  <c:v>46.826999999999998</c:v>
                </c:pt>
                <c:pt idx="1038">
                  <c:v>47.817900000000002</c:v>
                </c:pt>
                <c:pt idx="1039">
                  <c:v>48.155799999999999</c:v>
                </c:pt>
                <c:pt idx="1040">
                  <c:v>47.715000000000003</c:v>
                </c:pt>
                <c:pt idx="1041">
                  <c:v>48.646599999999999</c:v>
                </c:pt>
                <c:pt idx="1042">
                  <c:v>51.139499999999998</c:v>
                </c:pt>
                <c:pt idx="1043">
                  <c:v>50.528300000000002</c:v>
                </c:pt>
                <c:pt idx="1044">
                  <c:v>51.369100000000003</c:v>
                </c:pt>
                <c:pt idx="1045">
                  <c:v>49.589500000000001</c:v>
                </c:pt>
                <c:pt idx="1046">
                  <c:v>48.751199999999997</c:v>
                </c:pt>
                <c:pt idx="1047">
                  <c:v>48.632899999999999</c:v>
                </c:pt>
                <c:pt idx="1048">
                  <c:v>48.833300000000001</c:v>
                </c:pt>
                <c:pt idx="1049">
                  <c:v>51.953699999999998</c:v>
                </c:pt>
                <c:pt idx="1050">
                  <c:v>55.0608</c:v>
                </c:pt>
                <c:pt idx="1051">
                  <c:v>54.262500000000003</c:v>
                </c:pt>
                <c:pt idx="1052">
                  <c:v>54.738700000000001</c:v>
                </c:pt>
                <c:pt idx="1053">
                  <c:v>56.259099999999997</c:v>
                </c:pt>
                <c:pt idx="1054">
                  <c:v>55.722000000000001</c:v>
                </c:pt>
                <c:pt idx="1055">
                  <c:v>54.955399999999997</c:v>
                </c:pt>
                <c:pt idx="1056">
                  <c:v>57.621200000000002</c:v>
                </c:pt>
                <c:pt idx="1057">
                  <c:v>57.804499999999997</c:v>
                </c:pt>
                <c:pt idx="1058">
                  <c:v>60.406999999999996</c:v>
                </c:pt>
                <c:pt idx="1059">
                  <c:v>66.613299999999995</c:v>
                </c:pt>
                <c:pt idx="1060">
                  <c:v>71.8108</c:v>
                </c:pt>
                <c:pt idx="1061">
                  <c:v>60.9437</c:v>
                </c:pt>
                <c:pt idx="1062">
                  <c:v>60.307899999999997</c:v>
                </c:pt>
                <c:pt idx="1063">
                  <c:v>64.834500000000006</c:v>
                </c:pt>
                <c:pt idx="1064">
                  <c:v>74.788700000000006</c:v>
                </c:pt>
                <c:pt idx="1065">
                  <c:v>75.9512</c:v>
                </c:pt>
                <c:pt idx="1066">
                  <c:v>74.917900000000003</c:v>
                </c:pt>
                <c:pt idx="1067">
                  <c:v>76.055000000000007</c:v>
                </c:pt>
                <c:pt idx="1068">
                  <c:v>63.355400000000003</c:v>
                </c:pt>
                <c:pt idx="1069">
                  <c:v>63.339500000000001</c:v>
                </c:pt>
                <c:pt idx="1070">
                  <c:v>74.597899999999996</c:v>
                </c:pt>
                <c:pt idx="1071">
                  <c:v>83.742000000000004</c:v>
                </c:pt>
                <c:pt idx="1072">
                  <c:v>81.758700000000005</c:v>
                </c:pt>
                <c:pt idx="1073">
                  <c:v>74.061199999999999</c:v>
                </c:pt>
                <c:pt idx="1074">
                  <c:v>80.387</c:v>
                </c:pt>
                <c:pt idx="1075">
                  <c:v>72.763300000000001</c:v>
                </c:pt>
                <c:pt idx="1076">
                  <c:v>76.420400000000001</c:v>
                </c:pt>
                <c:pt idx="1077">
                  <c:v>102.6258</c:v>
                </c:pt>
                <c:pt idx="1078">
                  <c:v>103.2512</c:v>
                </c:pt>
                <c:pt idx="1079">
                  <c:v>95.072900000000004</c:v>
                </c:pt>
                <c:pt idx="1080">
                  <c:v>76.221599999999995</c:v>
                </c:pt>
                <c:pt idx="1081">
                  <c:v>78.882000000000005</c:v>
                </c:pt>
                <c:pt idx="1082">
                  <c:v>75.790400000000005</c:v>
                </c:pt>
                <c:pt idx="1083">
                  <c:v>78.999499999999998</c:v>
                </c:pt>
                <c:pt idx="1084">
                  <c:v>89.891599999999997</c:v>
                </c:pt>
                <c:pt idx="1085">
                  <c:v>92.829099999999997</c:v>
                </c:pt>
                <c:pt idx="1086">
                  <c:v>97.137500000000003</c:v>
                </c:pt>
                <c:pt idx="1087">
                  <c:v>83.736999999999995</c:v>
                </c:pt>
                <c:pt idx="1088">
                  <c:v>75.630799999999994</c:v>
                </c:pt>
                <c:pt idx="1089">
                  <c:v>77.951999999999998</c:v>
                </c:pt>
                <c:pt idx="1090">
                  <c:v>79.861999999999995</c:v>
                </c:pt>
                <c:pt idx="1091">
                  <c:v>85.054100000000005</c:v>
                </c:pt>
                <c:pt idx="1092">
                  <c:v>84.962900000000005</c:v>
                </c:pt>
                <c:pt idx="1093">
                  <c:v>88.237499999999997</c:v>
                </c:pt>
                <c:pt idx="1094">
                  <c:v>86.057000000000002</c:v>
                </c:pt>
                <c:pt idx="1095">
                  <c:v>81.611599999999996</c:v>
                </c:pt>
                <c:pt idx="1096">
                  <c:v>76.484099999999998</c:v>
                </c:pt>
                <c:pt idx="1097">
                  <c:v>82.31</c:v>
                </c:pt>
                <c:pt idx="1098">
                  <c:v>87.43</c:v>
                </c:pt>
                <c:pt idx="1099">
                  <c:v>85.11</c:v>
                </c:pt>
                <c:pt idx="1100">
                  <c:v>81.62</c:v>
                </c:pt>
                <c:pt idx="1101">
                  <c:v>77.819999999999993</c:v>
                </c:pt>
                <c:pt idx="1102">
                  <c:v>79.05</c:v>
                </c:pt>
                <c:pt idx="1103">
                  <c:v>75.239999999999995</c:v>
                </c:pt>
                <c:pt idx="1104">
                  <c:v>72.430000000000007</c:v>
                </c:pt>
                <c:pt idx="1105">
                  <c:v>72.959999999999994</c:v>
                </c:pt>
                <c:pt idx="1106">
                  <c:v>71.989999999999995</c:v>
                </c:pt>
                <c:pt idx="1107">
                  <c:v>71.569999999999993</c:v>
                </c:pt>
                <c:pt idx="1108">
                  <c:v>71.41</c:v>
                </c:pt>
                <c:pt idx="1109">
                  <c:v>69.12</c:v>
                </c:pt>
                <c:pt idx="1110">
                  <c:v>67.13</c:v>
                </c:pt>
                <c:pt idx="1111">
                  <c:v>65.83</c:v>
                </c:pt>
                <c:pt idx="1112">
                  <c:v>66.19</c:v>
                </c:pt>
                <c:pt idx="1113">
                  <c:v>65.680000000000007</c:v>
                </c:pt>
                <c:pt idx="1114">
                  <c:v>64.930000000000007</c:v>
                </c:pt>
                <c:pt idx="1115">
                  <c:v>64.45</c:v>
                </c:pt>
                <c:pt idx="1116">
                  <c:v>63.88</c:v>
                </c:pt>
                <c:pt idx="1117">
                  <c:v>62</c:v>
                </c:pt>
                <c:pt idx="1118">
                  <c:v>61.69</c:v>
                </c:pt>
                <c:pt idx="1119">
                  <c:v>63.56</c:v>
                </c:pt>
                <c:pt idx="1120">
                  <c:v>62.52</c:v>
                </c:pt>
                <c:pt idx="1121">
                  <c:v>64.25</c:v>
                </c:pt>
                <c:pt idx="1122">
                  <c:v>64.17</c:v>
                </c:pt>
                <c:pt idx="1123">
                  <c:v>62.89</c:v>
                </c:pt>
                <c:pt idx="1124">
                  <c:v>60.55</c:v>
                </c:pt>
                <c:pt idx="1125">
                  <c:v>61.14</c:v>
                </c:pt>
                <c:pt idx="1126">
                  <c:v>62.75</c:v>
                </c:pt>
                <c:pt idx="1127">
                  <c:v>60.92</c:v>
                </c:pt>
                <c:pt idx="1128">
                  <c:v>59.83</c:v>
                </c:pt>
                <c:pt idx="1129">
                  <c:v>58.81</c:v>
                </c:pt>
                <c:pt idx="1130">
                  <c:v>58.86</c:v>
                </c:pt>
                <c:pt idx="1131">
                  <c:v>59.81</c:v>
                </c:pt>
                <c:pt idx="1132">
                  <c:v>61.7</c:v>
                </c:pt>
                <c:pt idx="1133">
                  <c:v>62.56</c:v>
                </c:pt>
                <c:pt idx="1134">
                  <c:v>63.18</c:v>
                </c:pt>
                <c:pt idx="1135">
                  <c:v>64.290000000000006</c:v>
                </c:pt>
                <c:pt idx="1136">
                  <c:v>63.93</c:v>
                </c:pt>
                <c:pt idx="1137">
                  <c:v>63.05</c:v>
                </c:pt>
                <c:pt idx="1138">
                  <c:v>63.64</c:v>
                </c:pt>
                <c:pt idx="1139">
                  <c:v>64.12</c:v>
                </c:pt>
                <c:pt idx="1140">
                  <c:v>65.23</c:v>
                </c:pt>
                <c:pt idx="1141">
                  <c:v>65.97</c:v>
                </c:pt>
                <c:pt idx="1142">
                  <c:v>65.92</c:v>
                </c:pt>
                <c:pt idx="1143">
                  <c:v>66.489999999999995</c:v>
                </c:pt>
                <c:pt idx="1144">
                  <c:v>66.55</c:v>
                </c:pt>
                <c:pt idx="1145">
                  <c:v>65.91</c:v>
                </c:pt>
                <c:pt idx="1146">
                  <c:v>66.27</c:v>
                </c:pt>
                <c:pt idx="1147">
                  <c:v>68.36</c:v>
                </c:pt>
                <c:pt idx="1148">
                  <c:v>67.94</c:v>
                </c:pt>
                <c:pt idx="1149">
                  <c:v>68.760000000000005</c:v>
                </c:pt>
                <c:pt idx="1150">
                  <c:v>68.959999999999994</c:v>
                </c:pt>
                <c:pt idx="1151">
                  <c:v>67.349999999999994</c:v>
                </c:pt>
                <c:pt idx="1152">
                  <c:v>64.77</c:v>
                </c:pt>
                <c:pt idx="1153">
                  <c:v>64.64</c:v>
                </c:pt>
                <c:pt idx="1154">
                  <c:v>67.180000000000007</c:v>
                </c:pt>
                <c:pt idx="1155">
                  <c:v>66.36</c:v>
                </c:pt>
                <c:pt idx="1156">
                  <c:v>65.47</c:v>
                </c:pt>
                <c:pt idx="1157">
                  <c:v>64.69</c:v>
                </c:pt>
                <c:pt idx="1158">
                  <c:v>64.05</c:v>
                </c:pt>
                <c:pt idx="1159">
                  <c:v>62.44</c:v>
                </c:pt>
                <c:pt idx="1160">
                  <c:v>63.05</c:v>
                </c:pt>
                <c:pt idx="1161">
                  <c:v>63.75</c:v>
                </c:pt>
                <c:pt idx="1162">
                  <c:v>62.72</c:v>
                </c:pt>
                <c:pt idx="1163">
                  <c:v>62.7</c:v>
                </c:pt>
                <c:pt idx="1164">
                  <c:v>61.59</c:v>
                </c:pt>
                <c:pt idx="1165">
                  <c:v>62.13</c:v>
                </c:pt>
                <c:pt idx="1166">
                  <c:v>61.72</c:v>
                </c:pt>
                <c:pt idx="1167">
                  <c:v>61.89</c:v>
                </c:pt>
                <c:pt idx="1168">
                  <c:v>63.98</c:v>
                </c:pt>
                <c:pt idx="1169">
                  <c:v>63.23</c:v>
                </c:pt>
                <c:pt idx="1170">
                  <c:v>65.319999999999993</c:v>
                </c:pt>
                <c:pt idx="1171">
                  <c:v>67.83</c:v>
                </c:pt>
                <c:pt idx="1172">
                  <c:v>68.56</c:v>
                </c:pt>
                <c:pt idx="1173">
                  <c:v>67.41</c:v>
                </c:pt>
                <c:pt idx="1174">
                  <c:v>66.83</c:v>
                </c:pt>
                <c:pt idx="1175">
                  <c:v>66.58</c:v>
                </c:pt>
                <c:pt idx="1176">
                  <c:v>65.3</c:v>
                </c:pt>
                <c:pt idx="1177">
                  <c:v>63.97</c:v>
                </c:pt>
                <c:pt idx="1178">
                  <c:v>63.23</c:v>
                </c:pt>
                <c:pt idx="1179">
                  <c:v>63.87</c:v>
                </c:pt>
                <c:pt idx="1180">
                  <c:v>63.6</c:v>
                </c:pt>
                <c:pt idx="1181">
                  <c:v>62.85</c:v>
                </c:pt>
                <c:pt idx="1182">
                  <c:v>64.540000000000006</c:v>
                </c:pt>
                <c:pt idx="1183">
                  <c:v>63.95</c:v>
                </c:pt>
                <c:pt idx="1184">
                  <c:v>64.430000000000007</c:v>
                </c:pt>
                <c:pt idx="1185">
                  <c:v>62.7</c:v>
                </c:pt>
                <c:pt idx="1186">
                  <c:v>62</c:v>
                </c:pt>
                <c:pt idx="1187">
                  <c:v>61.74</c:v>
                </c:pt>
                <c:pt idx="1188">
                  <c:v>61.13</c:v>
                </c:pt>
                <c:pt idx="1189">
                  <c:v>63.55</c:v>
                </c:pt>
                <c:pt idx="1190">
                  <c:v>60.46</c:v>
                </c:pt>
                <c:pt idx="1191">
                  <c:v>58.67</c:v>
                </c:pt>
                <c:pt idx="1192">
                  <c:v>56.78</c:v>
                </c:pt>
                <c:pt idx="1193">
                  <c:v>54.89</c:v>
                </c:pt>
                <c:pt idx="1194">
                  <c:v>53.29</c:v>
                </c:pt>
                <c:pt idx="1195">
                  <c:v>54.65</c:v>
                </c:pt>
                <c:pt idx="1196">
                  <c:v>57.87</c:v>
                </c:pt>
                <c:pt idx="1197">
                  <c:v>56.65</c:v>
                </c:pt>
                <c:pt idx="1198">
                  <c:v>57.05</c:v>
                </c:pt>
                <c:pt idx="1199">
                  <c:v>57.87</c:v>
                </c:pt>
                <c:pt idx="1200">
                  <c:v>56.87</c:v>
                </c:pt>
                <c:pt idx="1201">
                  <c:v>53.54</c:v>
                </c:pt>
                <c:pt idx="1202">
                  <c:v>50.1</c:v>
                </c:pt>
                <c:pt idx="1203">
                  <c:v>55.31</c:v>
                </c:pt>
                <c:pt idx="1204">
                  <c:v>55.34</c:v>
                </c:pt>
                <c:pt idx="1205">
                  <c:v>53.62</c:v>
                </c:pt>
                <c:pt idx="1206">
                  <c:v>51.75</c:v>
                </c:pt>
                <c:pt idx="1207">
                  <c:v>49.09</c:v>
                </c:pt>
                <c:pt idx="1208">
                  <c:v>47.68</c:v>
                </c:pt>
                <c:pt idx="1209">
                  <c:v>33.630000000000003</c:v>
                </c:pt>
                <c:pt idx="1210">
                  <c:v>36.17</c:v>
                </c:pt>
                <c:pt idx="1211">
                  <c:v>51.3</c:v>
                </c:pt>
                <c:pt idx="1212">
                  <c:v>53.64</c:v>
                </c:pt>
                <c:pt idx="1213">
                  <c:v>52.79</c:v>
                </c:pt>
                <c:pt idx="1214">
                  <c:v>50.84</c:v>
                </c:pt>
                <c:pt idx="1215">
                  <c:v>47.05</c:v>
                </c:pt>
                <c:pt idx="1216">
                  <c:v>46.32</c:v>
                </c:pt>
                <c:pt idx="1217">
                  <c:v>55.88</c:v>
                </c:pt>
                <c:pt idx="1218">
                  <c:v>58.32</c:v>
                </c:pt>
                <c:pt idx="1219">
                  <c:v>59.13</c:v>
                </c:pt>
                <c:pt idx="1220">
                  <c:v>59.73</c:v>
                </c:pt>
                <c:pt idx="1221">
                  <c:v>58.31</c:v>
                </c:pt>
                <c:pt idx="1222">
                  <c:v>54.68</c:v>
                </c:pt>
                <c:pt idx="1223">
                  <c:v>52.94</c:v>
                </c:pt>
                <c:pt idx="1224">
                  <c:v>55.98</c:v>
                </c:pt>
                <c:pt idx="1225">
                  <c:v>56.29</c:v>
                </c:pt>
                <c:pt idx="1226">
                  <c:v>57.56</c:v>
                </c:pt>
                <c:pt idx="1227">
                  <c:v>57.71</c:v>
                </c:pt>
                <c:pt idx="1228">
                  <c:v>56.55</c:v>
                </c:pt>
                <c:pt idx="1229">
                  <c:v>55.43</c:v>
                </c:pt>
                <c:pt idx="1230">
                  <c:v>54.04</c:v>
                </c:pt>
                <c:pt idx="1231">
                  <c:v>55.55</c:v>
                </c:pt>
                <c:pt idx="1232">
                  <c:v>54.15</c:v>
                </c:pt>
                <c:pt idx="1233">
                  <c:v>54.82</c:v>
                </c:pt>
                <c:pt idx="1234">
                  <c:v>53.75</c:v>
                </c:pt>
                <c:pt idx="1235">
                  <c:v>53.89</c:v>
                </c:pt>
                <c:pt idx="1236">
                  <c:v>53.19</c:v>
                </c:pt>
                <c:pt idx="1237">
                  <c:v>52.51</c:v>
                </c:pt>
                <c:pt idx="1238">
                  <c:v>53.53</c:v>
                </c:pt>
                <c:pt idx="1239">
                  <c:v>52.06</c:v>
                </c:pt>
                <c:pt idx="1240">
                  <c:v>53.12</c:v>
                </c:pt>
                <c:pt idx="1241">
                  <c:v>53.52</c:v>
                </c:pt>
                <c:pt idx="1242">
                  <c:v>52.72</c:v>
                </c:pt>
                <c:pt idx="1243">
                  <c:v>51.22</c:v>
                </c:pt>
                <c:pt idx="1244">
                  <c:v>48.2</c:v>
                </c:pt>
                <c:pt idx="1245">
                  <c:v>53.19</c:v>
                </c:pt>
                <c:pt idx="1246">
                  <c:v>55.02</c:v>
                </c:pt>
                <c:pt idx="1247">
                  <c:v>54.67</c:v>
                </c:pt>
                <c:pt idx="1248">
                  <c:v>51.86</c:v>
                </c:pt>
                <c:pt idx="1249">
                  <c:v>52.79</c:v>
                </c:pt>
                <c:pt idx="1250">
                  <c:v>50.49</c:v>
                </c:pt>
                <c:pt idx="1251">
                  <c:v>48.78</c:v>
                </c:pt>
                <c:pt idx="1252">
                  <c:v>51.59</c:v>
                </c:pt>
                <c:pt idx="1253">
                  <c:v>56.2</c:v>
                </c:pt>
                <c:pt idx="1254">
                  <c:v>54.83</c:v>
                </c:pt>
                <c:pt idx="1255">
                  <c:v>52.38</c:v>
                </c:pt>
                <c:pt idx="1256">
                  <c:v>52.6</c:v>
                </c:pt>
                <c:pt idx="1257">
                  <c:v>50.4</c:v>
                </c:pt>
                <c:pt idx="1258">
                  <c:v>47.86</c:v>
                </c:pt>
                <c:pt idx="1259">
                  <c:v>49.92</c:v>
                </c:pt>
                <c:pt idx="1260">
                  <c:v>53.5</c:v>
                </c:pt>
                <c:pt idx="1261">
                  <c:v>53.83</c:v>
                </c:pt>
                <c:pt idx="1262">
                  <c:v>53</c:v>
                </c:pt>
                <c:pt idx="1263">
                  <c:v>50.97</c:v>
                </c:pt>
                <c:pt idx="1264">
                  <c:v>46.24</c:v>
                </c:pt>
                <c:pt idx="1265">
                  <c:v>32.020000000000003</c:v>
                </c:pt>
                <c:pt idx="1266">
                  <c:v>42.87</c:v>
                </c:pt>
                <c:pt idx="1267">
                  <c:v>50.17</c:v>
                </c:pt>
                <c:pt idx="1268">
                  <c:v>50.03</c:v>
                </c:pt>
                <c:pt idx="1269">
                  <c:v>43.01</c:v>
                </c:pt>
                <c:pt idx="1270">
                  <c:v>42.32</c:v>
                </c:pt>
                <c:pt idx="1271">
                  <c:v>39.35</c:v>
                </c:pt>
                <c:pt idx="1272">
                  <c:v>39.5</c:v>
                </c:pt>
                <c:pt idx="1273">
                  <c:v>47.49</c:v>
                </c:pt>
                <c:pt idx="1274">
                  <c:v>44.97</c:v>
                </c:pt>
                <c:pt idx="1275">
                  <c:v>45.33</c:v>
                </c:pt>
                <c:pt idx="1276">
                  <c:v>43.1</c:v>
                </c:pt>
                <c:pt idx="1277">
                  <c:v>40.06</c:v>
                </c:pt>
                <c:pt idx="1278">
                  <c:v>36.46</c:v>
                </c:pt>
                <c:pt idx="1279">
                  <c:v>28.98</c:v>
                </c:pt>
                <c:pt idx="1280">
                  <c:v>43.12</c:v>
                </c:pt>
                <c:pt idx="1281">
                  <c:v>44.21</c:v>
                </c:pt>
                <c:pt idx="1282">
                  <c:v>43.86</c:v>
                </c:pt>
                <c:pt idx="1283">
                  <c:v>45.19</c:v>
                </c:pt>
                <c:pt idx="1284">
                  <c:v>44.7</c:v>
                </c:pt>
                <c:pt idx="1285">
                  <c:v>42.74</c:v>
                </c:pt>
                <c:pt idx="1286">
                  <c:v>40.799999999999997</c:v>
                </c:pt>
                <c:pt idx="1287">
                  <c:v>44.93</c:v>
                </c:pt>
                <c:pt idx="1288">
                  <c:v>45.08</c:v>
                </c:pt>
                <c:pt idx="1289">
                  <c:v>43.6</c:v>
                </c:pt>
                <c:pt idx="1290">
                  <c:v>42.59</c:v>
                </c:pt>
                <c:pt idx="1291">
                  <c:v>41.84</c:v>
                </c:pt>
                <c:pt idx="1292">
                  <c:v>41.96</c:v>
                </c:pt>
                <c:pt idx="1293">
                  <c:v>34.39</c:v>
                </c:pt>
                <c:pt idx="1294">
                  <c:v>38.840000000000003</c:v>
                </c:pt>
                <c:pt idx="1295">
                  <c:v>42.06</c:v>
                </c:pt>
                <c:pt idx="1296">
                  <c:v>42.77</c:v>
                </c:pt>
                <c:pt idx="1297">
                  <c:v>42.45</c:v>
                </c:pt>
                <c:pt idx="1298">
                  <c:v>39.21</c:v>
                </c:pt>
                <c:pt idx="1299">
                  <c:v>26.75</c:v>
                </c:pt>
                <c:pt idx="1300">
                  <c:v>19.46</c:v>
                </c:pt>
                <c:pt idx="1301">
                  <c:v>34.18</c:v>
                </c:pt>
                <c:pt idx="1302">
                  <c:v>37.200000000000003</c:v>
                </c:pt>
                <c:pt idx="1303">
                  <c:v>35.729999999999997</c:v>
                </c:pt>
                <c:pt idx="1304">
                  <c:v>32.729999999999997</c:v>
                </c:pt>
                <c:pt idx="1305">
                  <c:v>35.6</c:v>
                </c:pt>
                <c:pt idx="1306">
                  <c:v>35.36</c:v>
                </c:pt>
                <c:pt idx="1307">
                  <c:v>35.36</c:v>
                </c:pt>
                <c:pt idx="1308">
                  <c:v>41.08</c:v>
                </c:pt>
                <c:pt idx="1309">
                  <c:v>41.04</c:v>
                </c:pt>
                <c:pt idx="1310">
                  <c:v>40.090000000000003</c:v>
                </c:pt>
                <c:pt idx="1311">
                  <c:v>39.56</c:v>
                </c:pt>
                <c:pt idx="1312">
                  <c:v>38.99</c:v>
                </c:pt>
                <c:pt idx="1313">
                  <c:v>36.44</c:v>
                </c:pt>
                <c:pt idx="1314">
                  <c:v>28.41</c:v>
                </c:pt>
                <c:pt idx="1315">
                  <c:v>38.25</c:v>
                </c:pt>
                <c:pt idx="1316">
                  <c:v>36.380000000000003</c:v>
                </c:pt>
                <c:pt idx="1317">
                  <c:v>33.75</c:v>
                </c:pt>
                <c:pt idx="1318">
                  <c:v>34.369999999999997</c:v>
                </c:pt>
                <c:pt idx="1319">
                  <c:v>36.47</c:v>
                </c:pt>
                <c:pt idx="1320">
                  <c:v>34.380000000000003</c:v>
                </c:pt>
                <c:pt idx="1321">
                  <c:v>34.799999999999997</c:v>
                </c:pt>
                <c:pt idx="1322">
                  <c:v>40.6</c:v>
                </c:pt>
                <c:pt idx="1323">
                  <c:v>43.03</c:v>
                </c:pt>
                <c:pt idx="1324">
                  <c:v>42.63</c:v>
                </c:pt>
                <c:pt idx="1325">
                  <c:v>44.02</c:v>
                </c:pt>
                <c:pt idx="1326">
                  <c:v>43.69</c:v>
                </c:pt>
                <c:pt idx="1327">
                  <c:v>40.04</c:v>
                </c:pt>
                <c:pt idx="1328">
                  <c:v>41.39</c:v>
                </c:pt>
                <c:pt idx="1329">
                  <c:v>45.53</c:v>
                </c:pt>
                <c:pt idx="1330">
                  <c:v>44.49</c:v>
                </c:pt>
                <c:pt idx="1331">
                  <c:v>43.27</c:v>
                </c:pt>
                <c:pt idx="1332">
                  <c:v>43.56</c:v>
                </c:pt>
                <c:pt idx="1333">
                  <c:v>43.08</c:v>
                </c:pt>
                <c:pt idx="1334">
                  <c:v>42.78</c:v>
                </c:pt>
                <c:pt idx="1335">
                  <c:v>39.57</c:v>
                </c:pt>
                <c:pt idx="1336">
                  <c:v>42.91</c:v>
                </c:pt>
                <c:pt idx="1337">
                  <c:v>44.25</c:v>
                </c:pt>
                <c:pt idx="1338">
                  <c:v>45.46</c:v>
                </c:pt>
                <c:pt idx="1339">
                  <c:v>45.64</c:v>
                </c:pt>
                <c:pt idx="1340">
                  <c:v>45.3</c:v>
                </c:pt>
                <c:pt idx="1341">
                  <c:v>43.94</c:v>
                </c:pt>
                <c:pt idx="1342">
                  <c:v>42.1</c:v>
                </c:pt>
                <c:pt idx="1343">
                  <c:v>44.18</c:v>
                </c:pt>
                <c:pt idx="1344">
                  <c:v>40.130000000000003</c:v>
                </c:pt>
                <c:pt idx="1345">
                  <c:v>35.58</c:v>
                </c:pt>
                <c:pt idx="1346">
                  <c:v>37.28</c:v>
                </c:pt>
                <c:pt idx="1347">
                  <c:v>37</c:v>
                </c:pt>
                <c:pt idx="1348">
                  <c:v>32.19</c:v>
                </c:pt>
                <c:pt idx="1349">
                  <c:v>24.03</c:v>
                </c:pt>
                <c:pt idx="1350">
                  <c:v>29.18</c:v>
                </c:pt>
                <c:pt idx="1351">
                  <c:v>23.13</c:v>
                </c:pt>
                <c:pt idx="1352">
                  <c:v>21.54</c:v>
                </c:pt>
                <c:pt idx="1353">
                  <c:v>13.32</c:v>
                </c:pt>
                <c:pt idx="1354">
                  <c:v>17.91</c:v>
                </c:pt>
                <c:pt idx="1355">
                  <c:v>8.1199999999999992</c:v>
                </c:pt>
                <c:pt idx="1356">
                  <c:v>14</c:v>
                </c:pt>
                <c:pt idx="1357">
                  <c:v>25.88</c:v>
                </c:pt>
                <c:pt idx="1358">
                  <c:v>25.86</c:v>
                </c:pt>
                <c:pt idx="1359">
                  <c:v>29.83</c:v>
                </c:pt>
                <c:pt idx="1360">
                  <c:v>24.65</c:v>
                </c:pt>
                <c:pt idx="1361">
                  <c:v>27.26</c:v>
                </c:pt>
                <c:pt idx="1362">
                  <c:v>25.44</c:v>
                </c:pt>
                <c:pt idx="1363">
                  <c:v>25.62</c:v>
                </c:pt>
                <c:pt idx="1364">
                  <c:v>31.1</c:v>
                </c:pt>
                <c:pt idx="1365">
                  <c:v>30.4</c:v>
                </c:pt>
                <c:pt idx="1366">
                  <c:v>28.12</c:v>
                </c:pt>
                <c:pt idx="1367">
                  <c:v>21.61</c:v>
                </c:pt>
                <c:pt idx="1368">
                  <c:v>17.809999999999999</c:v>
                </c:pt>
                <c:pt idx="1369">
                  <c:v>6.27</c:v>
                </c:pt>
                <c:pt idx="1370">
                  <c:v>5.79</c:v>
                </c:pt>
                <c:pt idx="1371">
                  <c:v>14.05</c:v>
                </c:pt>
                <c:pt idx="1372">
                  <c:v>9.83</c:v>
                </c:pt>
                <c:pt idx="1373">
                  <c:v>8.32</c:v>
                </c:pt>
                <c:pt idx="1374">
                  <c:v>8.09</c:v>
                </c:pt>
                <c:pt idx="1375">
                  <c:v>9.75</c:v>
                </c:pt>
                <c:pt idx="1376">
                  <c:v>8.76</c:v>
                </c:pt>
                <c:pt idx="1377">
                  <c:v>11.15</c:v>
                </c:pt>
                <c:pt idx="1378">
                  <c:v>17.52</c:v>
                </c:pt>
                <c:pt idx="1379">
                  <c:v>22.45</c:v>
                </c:pt>
                <c:pt idx="1380">
                  <c:v>28.42</c:v>
                </c:pt>
                <c:pt idx="1381">
                  <c:v>35.22</c:v>
                </c:pt>
                <c:pt idx="1382">
                  <c:v>36.93</c:v>
                </c:pt>
                <c:pt idx="1383">
                  <c:v>34.51</c:v>
                </c:pt>
                <c:pt idx="1384">
                  <c:v>35.21</c:v>
                </c:pt>
                <c:pt idx="1385">
                  <c:v>38.6</c:v>
                </c:pt>
                <c:pt idx="1386">
                  <c:v>34.06</c:v>
                </c:pt>
                <c:pt idx="1387">
                  <c:v>36.36</c:v>
                </c:pt>
                <c:pt idx="1388">
                  <c:v>39.590000000000003</c:v>
                </c:pt>
                <c:pt idx="1389">
                  <c:v>40.98</c:v>
                </c:pt>
                <c:pt idx="1390">
                  <c:v>37.4</c:v>
                </c:pt>
                <c:pt idx="1391">
                  <c:v>36.119999999999997</c:v>
                </c:pt>
                <c:pt idx="1392">
                  <c:v>38.25</c:v>
                </c:pt>
                <c:pt idx="1393">
                  <c:v>38.799999999999997</c:v>
                </c:pt>
                <c:pt idx="1394">
                  <c:v>40.020000000000003</c:v>
                </c:pt>
                <c:pt idx="1395">
                  <c:v>39.409999999999997</c:v>
                </c:pt>
                <c:pt idx="1396">
                  <c:v>39.67</c:v>
                </c:pt>
                <c:pt idx="1397">
                  <c:v>38.14</c:v>
                </c:pt>
                <c:pt idx="1398">
                  <c:v>35.659999999999997</c:v>
                </c:pt>
                <c:pt idx="1399">
                  <c:v>41.05</c:v>
                </c:pt>
                <c:pt idx="1400">
                  <c:v>40.159999999999997</c:v>
                </c:pt>
                <c:pt idx="1401">
                  <c:v>40.94</c:v>
                </c:pt>
                <c:pt idx="1402">
                  <c:v>39.93</c:v>
                </c:pt>
                <c:pt idx="1403">
                  <c:v>39.18</c:v>
                </c:pt>
                <c:pt idx="1404">
                  <c:v>39.85</c:v>
                </c:pt>
                <c:pt idx="1405">
                  <c:v>39.97</c:v>
                </c:pt>
                <c:pt idx="1406">
                  <c:v>42.9</c:v>
                </c:pt>
                <c:pt idx="1407">
                  <c:v>43.83</c:v>
                </c:pt>
                <c:pt idx="1408">
                  <c:v>44.33</c:v>
                </c:pt>
                <c:pt idx="1409">
                  <c:v>44.44</c:v>
                </c:pt>
                <c:pt idx="1410">
                  <c:v>43.27</c:v>
                </c:pt>
                <c:pt idx="1411">
                  <c:v>42.01</c:v>
                </c:pt>
                <c:pt idx="1412">
                  <c:v>42.57</c:v>
                </c:pt>
                <c:pt idx="1413">
                  <c:v>44.8</c:v>
                </c:pt>
                <c:pt idx="1414">
                  <c:v>46.07</c:v>
                </c:pt>
                <c:pt idx="1415">
                  <c:v>44.93</c:v>
                </c:pt>
                <c:pt idx="1416">
                  <c:v>46.32</c:v>
                </c:pt>
                <c:pt idx="1417">
                  <c:v>44.96</c:v>
                </c:pt>
                <c:pt idx="1418">
                  <c:v>42.07</c:v>
                </c:pt>
                <c:pt idx="1419">
                  <c:v>41.92</c:v>
                </c:pt>
                <c:pt idx="1420">
                  <c:v>42.86</c:v>
                </c:pt>
                <c:pt idx="1421">
                  <c:v>42.92</c:v>
                </c:pt>
                <c:pt idx="1422">
                  <c:v>41.3</c:v>
                </c:pt>
                <c:pt idx="1423">
                  <c:v>39.68</c:v>
                </c:pt>
                <c:pt idx="1424">
                  <c:v>37.520000000000003</c:v>
                </c:pt>
                <c:pt idx="1425">
                  <c:v>34.79</c:v>
                </c:pt>
                <c:pt idx="1426">
                  <c:v>31.9</c:v>
                </c:pt>
                <c:pt idx="1427">
                  <c:v>37.450000000000003</c:v>
                </c:pt>
                <c:pt idx="1428">
                  <c:v>36.979999999999997</c:v>
                </c:pt>
                <c:pt idx="1429">
                  <c:v>35.450000000000003</c:v>
                </c:pt>
                <c:pt idx="1430">
                  <c:v>35.75</c:v>
                </c:pt>
                <c:pt idx="1431">
                  <c:v>38.369999999999997</c:v>
                </c:pt>
                <c:pt idx="1432">
                  <c:v>34.96</c:v>
                </c:pt>
                <c:pt idx="1433">
                  <c:v>31.07</c:v>
                </c:pt>
                <c:pt idx="1434">
                  <c:v>37.61</c:v>
                </c:pt>
                <c:pt idx="1435">
                  <c:v>38.270000000000003</c:v>
                </c:pt>
                <c:pt idx="1436">
                  <c:v>39.61</c:v>
                </c:pt>
                <c:pt idx="1437">
                  <c:v>39.159999999999997</c:v>
                </c:pt>
                <c:pt idx="1438">
                  <c:v>35.6</c:v>
                </c:pt>
                <c:pt idx="1439">
                  <c:v>34.369999999999997</c:v>
                </c:pt>
                <c:pt idx="1440">
                  <c:v>35.78</c:v>
                </c:pt>
                <c:pt idx="1441">
                  <c:v>37.24</c:v>
                </c:pt>
                <c:pt idx="1442">
                  <c:v>35.659999999999997</c:v>
                </c:pt>
                <c:pt idx="1443">
                  <c:v>34.909999999999997</c:v>
                </c:pt>
                <c:pt idx="1444">
                  <c:v>35.68</c:v>
                </c:pt>
                <c:pt idx="1445">
                  <c:v>37.700000000000003</c:v>
                </c:pt>
                <c:pt idx="1446">
                  <c:v>32.82</c:v>
                </c:pt>
                <c:pt idx="1447">
                  <c:v>32.43</c:v>
                </c:pt>
                <c:pt idx="1448">
                  <c:v>36.520000000000003</c:v>
                </c:pt>
                <c:pt idx="1449">
                  <c:v>37.200000000000003</c:v>
                </c:pt>
                <c:pt idx="1450">
                  <c:v>37.479999999999997</c:v>
                </c:pt>
                <c:pt idx="1451">
                  <c:v>36.22</c:v>
                </c:pt>
                <c:pt idx="1452">
                  <c:v>32.49</c:v>
                </c:pt>
                <c:pt idx="1453">
                  <c:v>27.73</c:v>
                </c:pt>
                <c:pt idx="1454">
                  <c:v>21.76</c:v>
                </c:pt>
                <c:pt idx="1455">
                  <c:v>20.95</c:v>
                </c:pt>
                <c:pt idx="1456">
                  <c:v>28.33</c:v>
                </c:pt>
                <c:pt idx="1457">
                  <c:v>30.42</c:v>
                </c:pt>
                <c:pt idx="1458">
                  <c:v>26.17</c:v>
                </c:pt>
                <c:pt idx="1459">
                  <c:v>30.61</c:v>
                </c:pt>
                <c:pt idx="1460">
                  <c:v>32.94</c:v>
                </c:pt>
                <c:pt idx="1461">
                  <c:v>29.03</c:v>
                </c:pt>
                <c:pt idx="1462">
                  <c:v>33.51</c:v>
                </c:pt>
                <c:pt idx="1463">
                  <c:v>30.81</c:v>
                </c:pt>
                <c:pt idx="1464">
                  <c:v>30.2</c:v>
                </c:pt>
                <c:pt idx="1465">
                  <c:v>32.21</c:v>
                </c:pt>
                <c:pt idx="1466">
                  <c:v>32.5</c:v>
                </c:pt>
                <c:pt idx="1467">
                  <c:v>32.1</c:v>
                </c:pt>
                <c:pt idx="1468">
                  <c:v>32.83</c:v>
                </c:pt>
                <c:pt idx="1469">
                  <c:v>45.2</c:v>
                </c:pt>
                <c:pt idx="1470">
                  <c:v>40.76</c:v>
                </c:pt>
                <c:pt idx="1471">
                  <c:v>35.93</c:v>
                </c:pt>
                <c:pt idx="1472">
                  <c:v>33.94</c:v>
                </c:pt>
                <c:pt idx="1473">
                  <c:v>32.369999999999997</c:v>
                </c:pt>
                <c:pt idx="1474">
                  <c:v>33.03</c:v>
                </c:pt>
                <c:pt idx="1475">
                  <c:v>34.97</c:v>
                </c:pt>
                <c:pt idx="1476">
                  <c:v>41.41</c:v>
                </c:pt>
                <c:pt idx="1477">
                  <c:v>45.74</c:v>
                </c:pt>
                <c:pt idx="1478">
                  <c:v>38.049999999999997</c:v>
                </c:pt>
                <c:pt idx="1479">
                  <c:v>36.44</c:v>
                </c:pt>
                <c:pt idx="1480">
                  <c:v>39.19</c:v>
                </c:pt>
                <c:pt idx="1481">
                  <c:v>33.83</c:v>
                </c:pt>
                <c:pt idx="1482">
                  <c:v>31.44</c:v>
                </c:pt>
                <c:pt idx="1483">
                  <c:v>42.39</c:v>
                </c:pt>
                <c:pt idx="1484">
                  <c:v>44.03</c:v>
                </c:pt>
                <c:pt idx="1485">
                  <c:v>43.31</c:v>
                </c:pt>
                <c:pt idx="1486">
                  <c:v>39.049999999999997</c:v>
                </c:pt>
                <c:pt idx="1487">
                  <c:v>42.81</c:v>
                </c:pt>
                <c:pt idx="1488">
                  <c:v>38.17</c:v>
                </c:pt>
                <c:pt idx="1489">
                  <c:v>36.369999999999997</c:v>
                </c:pt>
                <c:pt idx="1490">
                  <c:v>42.66</c:v>
                </c:pt>
                <c:pt idx="1491">
                  <c:v>48.25</c:v>
                </c:pt>
                <c:pt idx="1492">
                  <c:v>70.69</c:v>
                </c:pt>
                <c:pt idx="1493">
                  <c:v>85.96</c:v>
                </c:pt>
                <c:pt idx="1494">
                  <c:v>84.29</c:v>
                </c:pt>
                <c:pt idx="1495">
                  <c:v>51.44</c:v>
                </c:pt>
                <c:pt idx="1496">
                  <c:v>43.66</c:v>
                </c:pt>
                <c:pt idx="1497">
                  <c:v>75.67</c:v>
                </c:pt>
                <c:pt idx="1498">
                  <c:v>71.47</c:v>
                </c:pt>
                <c:pt idx="1499">
                  <c:v>96.15</c:v>
                </c:pt>
                <c:pt idx="1500">
                  <c:v>64.790000000000006</c:v>
                </c:pt>
                <c:pt idx="1501">
                  <c:v>69.540000000000006</c:v>
                </c:pt>
                <c:pt idx="1502">
                  <c:v>43.37</c:v>
                </c:pt>
                <c:pt idx="1503">
                  <c:v>39.29</c:v>
                </c:pt>
                <c:pt idx="1504">
                  <c:v>50.18</c:v>
                </c:pt>
                <c:pt idx="1505">
                  <c:v>42.19</c:v>
                </c:pt>
                <c:pt idx="1506">
                  <c:v>37.82</c:v>
                </c:pt>
                <c:pt idx="1507">
                  <c:v>45.79</c:v>
                </c:pt>
                <c:pt idx="1508">
                  <c:v>38.97</c:v>
                </c:pt>
                <c:pt idx="1509">
                  <c:v>35.22</c:v>
                </c:pt>
                <c:pt idx="1510">
                  <c:v>33.24</c:v>
                </c:pt>
                <c:pt idx="1511">
                  <c:v>39.46</c:v>
                </c:pt>
                <c:pt idx="1512">
                  <c:v>36.479999999999997</c:v>
                </c:pt>
                <c:pt idx="1513">
                  <c:v>34.409999999999997</c:v>
                </c:pt>
                <c:pt idx="1514">
                  <c:v>31.41</c:v>
                </c:pt>
                <c:pt idx="1515">
                  <c:v>31.82</c:v>
                </c:pt>
                <c:pt idx="1516">
                  <c:v>30.9</c:v>
                </c:pt>
                <c:pt idx="1517">
                  <c:v>32.97</c:v>
                </c:pt>
                <c:pt idx="1518">
                  <c:v>37.61</c:v>
                </c:pt>
                <c:pt idx="1519">
                  <c:v>33.79</c:v>
                </c:pt>
                <c:pt idx="1520">
                  <c:v>34.229999999999997</c:v>
                </c:pt>
                <c:pt idx="1521">
                  <c:v>33.22</c:v>
                </c:pt>
                <c:pt idx="1522">
                  <c:v>32.92</c:v>
                </c:pt>
                <c:pt idx="1523">
                  <c:v>31.58</c:v>
                </c:pt>
                <c:pt idx="1524">
                  <c:v>31.8</c:v>
                </c:pt>
                <c:pt idx="1525">
                  <c:v>34.64</c:v>
                </c:pt>
                <c:pt idx="1526">
                  <c:v>34.65</c:v>
                </c:pt>
                <c:pt idx="1527">
                  <c:v>32.340000000000003</c:v>
                </c:pt>
                <c:pt idx="1528">
                  <c:v>32.65</c:v>
                </c:pt>
                <c:pt idx="1529">
                  <c:v>31.34</c:v>
                </c:pt>
                <c:pt idx="1530">
                  <c:v>28.82</c:v>
                </c:pt>
                <c:pt idx="1531">
                  <c:v>27.44</c:v>
                </c:pt>
                <c:pt idx="1532">
                  <c:v>30.51</c:v>
                </c:pt>
                <c:pt idx="1533">
                  <c:v>29.99</c:v>
                </c:pt>
                <c:pt idx="1534">
                  <c:v>30.97</c:v>
                </c:pt>
                <c:pt idx="1535">
                  <c:v>30.61</c:v>
                </c:pt>
                <c:pt idx="1536">
                  <c:v>30.39</c:v>
                </c:pt>
                <c:pt idx="1537">
                  <c:v>27.88</c:v>
                </c:pt>
                <c:pt idx="1538">
                  <c:v>27.96</c:v>
                </c:pt>
                <c:pt idx="1539">
                  <c:v>29.36</c:v>
                </c:pt>
                <c:pt idx="1540">
                  <c:v>28.53</c:v>
                </c:pt>
                <c:pt idx="1541">
                  <c:v>28.91</c:v>
                </c:pt>
                <c:pt idx="1542">
                  <c:v>28.71</c:v>
                </c:pt>
                <c:pt idx="1543">
                  <c:v>28.16</c:v>
                </c:pt>
                <c:pt idx="1544">
                  <c:v>25.31</c:v>
                </c:pt>
                <c:pt idx="1545">
                  <c:v>24.41</c:v>
                </c:pt>
                <c:pt idx="1546">
                  <c:v>28.23</c:v>
                </c:pt>
                <c:pt idx="1547">
                  <c:v>26.7</c:v>
                </c:pt>
                <c:pt idx="1548">
                  <c:v>25.4</c:v>
                </c:pt>
                <c:pt idx="1549">
                  <c:v>23.89</c:v>
                </c:pt>
                <c:pt idx="1550">
                  <c:v>24.75</c:v>
                </c:pt>
                <c:pt idx="1551">
                  <c:v>23.04</c:v>
                </c:pt>
                <c:pt idx="1552">
                  <c:v>24.07</c:v>
                </c:pt>
                <c:pt idx="1553">
                  <c:v>27.83</c:v>
                </c:pt>
                <c:pt idx="1554">
                  <c:v>31.93</c:v>
                </c:pt>
                <c:pt idx="1555">
                  <c:v>30.96</c:v>
                </c:pt>
                <c:pt idx="1556">
                  <c:v>29.57</c:v>
                </c:pt>
                <c:pt idx="1557">
                  <c:v>28.63</c:v>
                </c:pt>
                <c:pt idx="1558">
                  <c:v>28.79</c:v>
                </c:pt>
                <c:pt idx="1559">
                  <c:v>29.39</c:v>
                </c:pt>
                <c:pt idx="1560">
                  <c:v>25.64</c:v>
                </c:pt>
                <c:pt idx="1561">
                  <c:v>28.95</c:v>
                </c:pt>
                <c:pt idx="1562">
                  <c:v>31.76</c:v>
                </c:pt>
                <c:pt idx="1563">
                  <c:v>32.700000000000003</c:v>
                </c:pt>
                <c:pt idx="1564">
                  <c:v>33.57</c:v>
                </c:pt>
                <c:pt idx="1565">
                  <c:v>32.01</c:v>
                </c:pt>
                <c:pt idx="1566">
                  <c:v>31.07</c:v>
                </c:pt>
                <c:pt idx="1567">
                  <c:v>36.380000000000003</c:v>
                </c:pt>
                <c:pt idx="1568">
                  <c:v>42.11</c:v>
                </c:pt>
                <c:pt idx="1569">
                  <c:v>42.32</c:v>
                </c:pt>
                <c:pt idx="1570">
                  <c:v>35.56</c:v>
                </c:pt>
                <c:pt idx="1571">
                  <c:v>35.65</c:v>
                </c:pt>
                <c:pt idx="1572">
                  <c:v>31.66</c:v>
                </c:pt>
                <c:pt idx="1573">
                  <c:v>31.48</c:v>
                </c:pt>
                <c:pt idx="1574">
                  <c:v>35.36</c:v>
                </c:pt>
                <c:pt idx="1575">
                  <c:v>33.590000000000003</c:v>
                </c:pt>
                <c:pt idx="1576">
                  <c:v>35.06</c:v>
                </c:pt>
                <c:pt idx="1577">
                  <c:v>33.65</c:v>
                </c:pt>
                <c:pt idx="1578">
                  <c:v>31.120799999999999</c:v>
                </c:pt>
                <c:pt idx="1579">
                  <c:v>28.5945</c:v>
                </c:pt>
                <c:pt idx="1580">
                  <c:v>22.5029</c:v>
                </c:pt>
                <c:pt idx="1581">
                  <c:v>29.44</c:v>
                </c:pt>
                <c:pt idx="1582">
                  <c:v>23.252500000000001</c:v>
                </c:pt>
                <c:pt idx="1583">
                  <c:v>29.930800000000001</c:v>
                </c:pt>
                <c:pt idx="1584">
                  <c:v>31.5883</c:v>
                </c:pt>
                <c:pt idx="1585">
                  <c:v>31.989100000000001</c:v>
                </c:pt>
                <c:pt idx="1586">
                  <c:v>29.8904</c:v>
                </c:pt>
                <c:pt idx="1587">
                  <c:v>30.001200000000001</c:v>
                </c:pt>
                <c:pt idx="1588">
                  <c:v>35.032899999999998</c:v>
                </c:pt>
                <c:pt idx="1589">
                  <c:v>34.93</c:v>
                </c:pt>
                <c:pt idx="1590">
                  <c:v>34.090400000000002</c:v>
                </c:pt>
                <c:pt idx="1591">
                  <c:v>33.095799999999997</c:v>
                </c:pt>
                <c:pt idx="1592">
                  <c:v>29.382000000000001</c:v>
                </c:pt>
                <c:pt idx="1593">
                  <c:v>26.2804</c:v>
                </c:pt>
                <c:pt idx="1594">
                  <c:v>27.915800000000001</c:v>
                </c:pt>
                <c:pt idx="1595">
                  <c:v>30.44</c:v>
                </c:pt>
                <c:pt idx="1596">
                  <c:v>34.14</c:v>
                </c:pt>
                <c:pt idx="1597">
                  <c:v>32.25</c:v>
                </c:pt>
                <c:pt idx="1598">
                  <c:v>25.2925</c:v>
                </c:pt>
                <c:pt idx="1599">
                  <c:v>29.727900000000002</c:v>
                </c:pt>
                <c:pt idx="1600">
                  <c:v>27.737500000000001</c:v>
                </c:pt>
                <c:pt idx="1601">
                  <c:v>23.650400000000001</c:v>
                </c:pt>
                <c:pt idx="1602">
                  <c:v>29.3033</c:v>
                </c:pt>
                <c:pt idx="1603">
                  <c:v>28.5183</c:v>
                </c:pt>
                <c:pt idx="1604">
                  <c:v>27.316600000000001</c:v>
                </c:pt>
                <c:pt idx="1605">
                  <c:v>26.1845</c:v>
                </c:pt>
                <c:pt idx="1606">
                  <c:v>24.292899999999999</c:v>
                </c:pt>
                <c:pt idx="1607">
                  <c:v>20.8108</c:v>
                </c:pt>
                <c:pt idx="1608">
                  <c:v>17.93</c:v>
                </c:pt>
                <c:pt idx="1609">
                  <c:v>21.882899999999999</c:v>
                </c:pt>
                <c:pt idx="1610">
                  <c:v>27.465</c:v>
                </c:pt>
                <c:pt idx="1611">
                  <c:v>28.269500000000001</c:v>
                </c:pt>
                <c:pt idx="1612">
                  <c:v>30.908300000000001</c:v>
                </c:pt>
                <c:pt idx="1613">
                  <c:v>27.660799999999998</c:v>
                </c:pt>
                <c:pt idx="1614">
                  <c:v>25.1891</c:v>
                </c:pt>
                <c:pt idx="1615">
                  <c:v>24.451599999999999</c:v>
                </c:pt>
                <c:pt idx="1616">
                  <c:v>31.393699999999999</c:v>
                </c:pt>
                <c:pt idx="1617">
                  <c:v>28.5762</c:v>
                </c:pt>
                <c:pt idx="1618">
                  <c:v>28.6175</c:v>
                </c:pt>
                <c:pt idx="1619">
                  <c:v>28.2058</c:v>
                </c:pt>
                <c:pt idx="1620">
                  <c:v>26.5458</c:v>
                </c:pt>
                <c:pt idx="1621">
                  <c:v>21.6462</c:v>
                </c:pt>
                <c:pt idx="1622">
                  <c:v>20.88</c:v>
                </c:pt>
                <c:pt idx="1623">
                  <c:v>27.077000000000002</c:v>
                </c:pt>
                <c:pt idx="1624">
                  <c:v>26.792000000000002</c:v>
                </c:pt>
                <c:pt idx="1625">
                  <c:v>27.023299999999999</c:v>
                </c:pt>
                <c:pt idx="1626">
                  <c:v>26.3812</c:v>
                </c:pt>
                <c:pt idx="1627">
                  <c:v>26.181999999999999</c:v>
                </c:pt>
                <c:pt idx="1628">
                  <c:v>23.5962</c:v>
                </c:pt>
                <c:pt idx="1629">
                  <c:v>19.403300000000002</c:v>
                </c:pt>
                <c:pt idx="1630">
                  <c:v>25.296199999999999</c:v>
                </c:pt>
                <c:pt idx="1631">
                  <c:v>26.028300000000002</c:v>
                </c:pt>
                <c:pt idx="1632">
                  <c:v>26.062899999999999</c:v>
                </c:pt>
                <c:pt idx="1633">
                  <c:v>24.395800000000001</c:v>
                </c:pt>
                <c:pt idx="1634">
                  <c:v>22.28</c:v>
                </c:pt>
                <c:pt idx="1635">
                  <c:v>21.630400000000002</c:v>
                </c:pt>
                <c:pt idx="1636">
                  <c:v>19.598299999999998</c:v>
                </c:pt>
                <c:pt idx="1637">
                  <c:v>22.758299999999998</c:v>
                </c:pt>
                <c:pt idx="1638">
                  <c:v>24.7058</c:v>
                </c:pt>
                <c:pt idx="1639">
                  <c:v>25.857900000000001</c:v>
                </c:pt>
                <c:pt idx="1640">
                  <c:v>25.670400000000001</c:v>
                </c:pt>
                <c:pt idx="1641">
                  <c:v>24.527000000000001</c:v>
                </c:pt>
                <c:pt idx="1642">
                  <c:v>22.86</c:v>
                </c:pt>
                <c:pt idx="1643">
                  <c:v>20.8825</c:v>
                </c:pt>
                <c:pt idx="1644">
                  <c:v>24.756599999999999</c:v>
                </c:pt>
                <c:pt idx="1645">
                  <c:v>25.116599999999998</c:v>
                </c:pt>
                <c:pt idx="1646">
                  <c:v>25.1158</c:v>
                </c:pt>
                <c:pt idx="1647">
                  <c:v>23.700800000000001</c:v>
                </c:pt>
                <c:pt idx="1648">
                  <c:v>22.337</c:v>
                </c:pt>
                <c:pt idx="1649">
                  <c:v>19.302</c:v>
                </c:pt>
                <c:pt idx="1650">
                  <c:v>18.816600000000001</c:v>
                </c:pt>
                <c:pt idx="1651">
                  <c:v>20.667899999999999</c:v>
                </c:pt>
                <c:pt idx="1652">
                  <c:v>17.742000000000001</c:v>
                </c:pt>
                <c:pt idx="1653">
                  <c:v>18.295000000000002</c:v>
                </c:pt>
                <c:pt idx="1654">
                  <c:v>15.165800000000001</c:v>
                </c:pt>
                <c:pt idx="1655">
                  <c:v>12.9329</c:v>
                </c:pt>
                <c:pt idx="1656">
                  <c:v>10.397</c:v>
                </c:pt>
                <c:pt idx="1657">
                  <c:v>7.8457999999999997</c:v>
                </c:pt>
                <c:pt idx="1658">
                  <c:v>8.8874999999999993</c:v>
                </c:pt>
                <c:pt idx="1659">
                  <c:v>8.0140999999999991</c:v>
                </c:pt>
                <c:pt idx="1660">
                  <c:v>8.3237000000000005</c:v>
                </c:pt>
                <c:pt idx="1661">
                  <c:v>8.2070000000000007</c:v>
                </c:pt>
                <c:pt idx="1662">
                  <c:v>9.1603999999999992</c:v>
                </c:pt>
                <c:pt idx="1663">
                  <c:v>9.7095000000000002</c:v>
                </c:pt>
                <c:pt idx="1664">
                  <c:v>9.7340999999999998</c:v>
                </c:pt>
                <c:pt idx="1665">
                  <c:v>8.0958000000000006</c:v>
                </c:pt>
                <c:pt idx="1666">
                  <c:v>9.1087000000000007</c:v>
                </c:pt>
                <c:pt idx="1667">
                  <c:v>7.9424999999999999</c:v>
                </c:pt>
                <c:pt idx="1668">
                  <c:v>8.0986999999999991</c:v>
                </c:pt>
                <c:pt idx="1669">
                  <c:v>8.1766000000000005</c:v>
                </c:pt>
                <c:pt idx="1670">
                  <c:v>8.1966000000000001</c:v>
                </c:pt>
                <c:pt idx="1671">
                  <c:v>9.1907999999999994</c:v>
                </c:pt>
                <c:pt idx="1672">
                  <c:v>10.441599999999999</c:v>
                </c:pt>
                <c:pt idx="1673">
                  <c:v>10.334099999999999</c:v>
                </c:pt>
                <c:pt idx="1674">
                  <c:v>10.785399999999999</c:v>
                </c:pt>
                <c:pt idx="1675">
                  <c:v>10.461600000000001</c:v>
                </c:pt>
                <c:pt idx="1676">
                  <c:v>10.5875</c:v>
                </c:pt>
                <c:pt idx="1677">
                  <c:v>10.143700000000001</c:v>
                </c:pt>
                <c:pt idx="1678">
                  <c:v>10.517899999999999</c:v>
                </c:pt>
                <c:pt idx="1679">
                  <c:v>12.138299999999999</c:v>
                </c:pt>
                <c:pt idx="1680">
                  <c:v>10.6645</c:v>
                </c:pt>
                <c:pt idx="1681">
                  <c:v>12.1845</c:v>
                </c:pt>
                <c:pt idx="1682">
                  <c:v>16.88</c:v>
                </c:pt>
                <c:pt idx="1683">
                  <c:v>19.276599999999998</c:v>
                </c:pt>
                <c:pt idx="1684">
                  <c:v>19.125399999999999</c:v>
                </c:pt>
                <c:pt idx="1685">
                  <c:v>20.572500000000002</c:v>
                </c:pt>
                <c:pt idx="1686">
                  <c:v>25.72</c:v>
                </c:pt>
                <c:pt idx="1687">
                  <c:v>26.9129</c:v>
                </c:pt>
                <c:pt idx="1688">
                  <c:v>27.396999999999998</c:v>
                </c:pt>
                <c:pt idx="1689">
                  <c:v>30.784099999999999</c:v>
                </c:pt>
                <c:pt idx="1690">
                  <c:v>30.4895</c:v>
                </c:pt>
                <c:pt idx="1691">
                  <c:v>27.635400000000001</c:v>
                </c:pt>
                <c:pt idx="1692">
                  <c:v>26.647500000000001</c:v>
                </c:pt>
                <c:pt idx="1693">
                  <c:v>31.344100000000001</c:v>
                </c:pt>
                <c:pt idx="1694">
                  <c:v>30.609500000000001</c:v>
                </c:pt>
                <c:pt idx="1695">
                  <c:v>29.388300000000001</c:v>
                </c:pt>
                <c:pt idx="1696">
                  <c:v>30.411200000000001</c:v>
                </c:pt>
                <c:pt idx="1697">
                  <c:v>32.182899999999997</c:v>
                </c:pt>
                <c:pt idx="1698">
                  <c:v>30.060400000000001</c:v>
                </c:pt>
                <c:pt idx="1699">
                  <c:v>26.29</c:v>
                </c:pt>
                <c:pt idx="1700">
                  <c:v>32.2179</c:v>
                </c:pt>
                <c:pt idx="1701">
                  <c:v>32.737000000000002</c:v>
                </c:pt>
                <c:pt idx="1702">
                  <c:v>32.340400000000002</c:v>
                </c:pt>
                <c:pt idx="1703">
                  <c:v>32.908700000000003</c:v>
                </c:pt>
                <c:pt idx="1704">
                  <c:v>31.382899999999999</c:v>
                </c:pt>
                <c:pt idx="1705">
                  <c:v>27.430399999999999</c:v>
                </c:pt>
                <c:pt idx="1706">
                  <c:v>24.918700000000001</c:v>
                </c:pt>
                <c:pt idx="1707">
                  <c:v>30.691600000000001</c:v>
                </c:pt>
                <c:pt idx="1708">
                  <c:v>28.07</c:v>
                </c:pt>
                <c:pt idx="1709">
                  <c:v>25.995799999999999</c:v>
                </c:pt>
                <c:pt idx="1710">
                  <c:v>24.476600000000001</c:v>
                </c:pt>
                <c:pt idx="1711">
                  <c:v>21.2683</c:v>
                </c:pt>
                <c:pt idx="1712">
                  <c:v>17.9604</c:v>
                </c:pt>
                <c:pt idx="1713">
                  <c:v>19.757899999999999</c:v>
                </c:pt>
                <c:pt idx="1714">
                  <c:v>22.9316</c:v>
                </c:pt>
                <c:pt idx="1715">
                  <c:v>23.895399999999999</c:v>
                </c:pt>
                <c:pt idx="1716">
                  <c:v>25.117899999999999</c:v>
                </c:pt>
                <c:pt idx="1717">
                  <c:v>25.077000000000002</c:v>
                </c:pt>
                <c:pt idx="1718">
                  <c:v>20.6</c:v>
                </c:pt>
                <c:pt idx="1719">
                  <c:v>19.5366</c:v>
                </c:pt>
                <c:pt idx="1720">
                  <c:v>20.1312</c:v>
                </c:pt>
                <c:pt idx="1721">
                  <c:v>24.997900000000001</c:v>
                </c:pt>
                <c:pt idx="1722">
                  <c:v>24.839099999999998</c:v>
                </c:pt>
                <c:pt idx="1723">
                  <c:v>24.144100000000002</c:v>
                </c:pt>
                <c:pt idx="1724">
                  <c:v>27.147500000000001</c:v>
                </c:pt>
                <c:pt idx="1725">
                  <c:v>27.8995</c:v>
                </c:pt>
                <c:pt idx="1726">
                  <c:v>24.970800000000001</c:v>
                </c:pt>
                <c:pt idx="1727">
                  <c:v>24.31</c:v>
                </c:pt>
                <c:pt idx="1728">
                  <c:v>26.5883</c:v>
                </c:pt>
                <c:pt idx="1729">
                  <c:v>27.974499999999999</c:v>
                </c:pt>
                <c:pt idx="1730">
                  <c:v>31.146999999999998</c:v>
                </c:pt>
                <c:pt idx="1731">
                  <c:v>33.498699999999999</c:v>
                </c:pt>
                <c:pt idx="1732">
                  <c:v>31.6508</c:v>
                </c:pt>
                <c:pt idx="1733">
                  <c:v>29.266999999999999</c:v>
                </c:pt>
                <c:pt idx="1734">
                  <c:v>25.128299999999999</c:v>
                </c:pt>
                <c:pt idx="1735">
                  <c:v>31.017499999999998</c:v>
                </c:pt>
                <c:pt idx="1736">
                  <c:v>31.762</c:v>
                </c:pt>
                <c:pt idx="1737">
                  <c:v>29.090800000000002</c:v>
                </c:pt>
                <c:pt idx="1738">
                  <c:v>32.605800000000002</c:v>
                </c:pt>
                <c:pt idx="1739">
                  <c:v>32.229100000000003</c:v>
                </c:pt>
                <c:pt idx="1740">
                  <c:v>31.069099999999999</c:v>
                </c:pt>
                <c:pt idx="1741">
                  <c:v>28.698699999999999</c:v>
                </c:pt>
                <c:pt idx="1742">
                  <c:v>31.153700000000001</c:v>
                </c:pt>
                <c:pt idx="1743">
                  <c:v>33.506599999999999</c:v>
                </c:pt>
                <c:pt idx="1744">
                  <c:v>38.430799999999998</c:v>
                </c:pt>
                <c:pt idx="1745">
                  <c:v>38.967500000000001</c:v>
                </c:pt>
                <c:pt idx="1746">
                  <c:v>36.556600000000003</c:v>
                </c:pt>
                <c:pt idx="1747">
                  <c:v>33.447899999999997</c:v>
                </c:pt>
                <c:pt idx="1748">
                  <c:v>31.845400000000001</c:v>
                </c:pt>
                <c:pt idx="1749">
                  <c:v>36.959499999999998</c:v>
                </c:pt>
                <c:pt idx="1750">
                  <c:v>35.4283</c:v>
                </c:pt>
                <c:pt idx="1751">
                  <c:v>34.800400000000003</c:v>
                </c:pt>
                <c:pt idx="1752">
                  <c:v>34.549999999999997</c:v>
                </c:pt>
                <c:pt idx="1753">
                  <c:v>34.4983</c:v>
                </c:pt>
                <c:pt idx="1754">
                  <c:v>33.658700000000003</c:v>
                </c:pt>
                <c:pt idx="1755">
                  <c:v>33.403700000000001</c:v>
                </c:pt>
                <c:pt idx="1756">
                  <c:v>37.482900000000001</c:v>
                </c:pt>
                <c:pt idx="1757">
                  <c:v>38.808700000000002</c:v>
                </c:pt>
                <c:pt idx="1758">
                  <c:v>37.963700000000003</c:v>
                </c:pt>
                <c:pt idx="1759">
                  <c:v>37.697000000000003</c:v>
                </c:pt>
                <c:pt idx="1760">
                  <c:v>37.153300000000002</c:v>
                </c:pt>
                <c:pt idx="1761">
                  <c:v>36.448700000000002</c:v>
                </c:pt>
                <c:pt idx="1762">
                  <c:v>35.61</c:v>
                </c:pt>
                <c:pt idx="1763">
                  <c:v>36.301600000000001</c:v>
                </c:pt>
                <c:pt idx="1764">
                  <c:v>38.781199999999998</c:v>
                </c:pt>
                <c:pt idx="1765">
                  <c:v>37.454500000000003</c:v>
                </c:pt>
                <c:pt idx="1766">
                  <c:v>34.249499999999998</c:v>
                </c:pt>
                <c:pt idx="1767">
                  <c:v>33.660400000000003</c:v>
                </c:pt>
                <c:pt idx="1768">
                  <c:v>32.879100000000001</c:v>
                </c:pt>
                <c:pt idx="1769">
                  <c:v>33.019500000000001</c:v>
                </c:pt>
                <c:pt idx="1770">
                  <c:v>36.623699999999999</c:v>
                </c:pt>
                <c:pt idx="1771">
                  <c:v>35.4741</c:v>
                </c:pt>
                <c:pt idx="1772">
                  <c:v>33.817500000000003</c:v>
                </c:pt>
                <c:pt idx="1773">
                  <c:v>34.1145</c:v>
                </c:pt>
                <c:pt idx="1774">
                  <c:v>35.486600000000003</c:v>
                </c:pt>
                <c:pt idx="1775">
                  <c:v>32.309100000000001</c:v>
                </c:pt>
                <c:pt idx="1776">
                  <c:v>32.212899999999998</c:v>
                </c:pt>
                <c:pt idx="1777">
                  <c:v>34.508299999999998</c:v>
                </c:pt>
                <c:pt idx="1778">
                  <c:v>35.938299999999998</c:v>
                </c:pt>
                <c:pt idx="1779">
                  <c:v>34.845399999999998</c:v>
                </c:pt>
                <c:pt idx="1780">
                  <c:v>34.354500000000002</c:v>
                </c:pt>
                <c:pt idx="1781">
                  <c:v>34.433700000000002</c:v>
                </c:pt>
                <c:pt idx="1782">
                  <c:v>33.200800000000001</c:v>
                </c:pt>
                <c:pt idx="1783">
                  <c:v>32.755800000000001</c:v>
                </c:pt>
                <c:pt idx="1784">
                  <c:v>34.878300000000003</c:v>
                </c:pt>
                <c:pt idx="1785">
                  <c:v>34.783700000000003</c:v>
                </c:pt>
                <c:pt idx="1786">
                  <c:v>33.9495</c:v>
                </c:pt>
                <c:pt idx="1787">
                  <c:v>32.893700000000003</c:v>
                </c:pt>
                <c:pt idx="1788">
                  <c:v>31.571200000000001</c:v>
                </c:pt>
                <c:pt idx="1789">
                  <c:v>32.184100000000001</c:v>
                </c:pt>
                <c:pt idx="1790">
                  <c:v>28.1387</c:v>
                </c:pt>
                <c:pt idx="1791">
                  <c:v>32.844099999999997</c:v>
                </c:pt>
                <c:pt idx="1792">
                  <c:v>35.882899999999999</c:v>
                </c:pt>
                <c:pt idx="1793">
                  <c:v>36.4054</c:v>
                </c:pt>
                <c:pt idx="1794">
                  <c:v>38.554499999999997</c:v>
                </c:pt>
                <c:pt idx="1795">
                  <c:v>40.370399999999997</c:v>
                </c:pt>
                <c:pt idx="1796">
                  <c:v>38.535800000000002</c:v>
                </c:pt>
                <c:pt idx="1797">
                  <c:v>38.323300000000003</c:v>
                </c:pt>
                <c:pt idx="1798">
                  <c:v>48.45</c:v>
                </c:pt>
                <c:pt idx="1799">
                  <c:v>49.64</c:v>
                </c:pt>
                <c:pt idx="1800">
                  <c:v>58.506999999999998</c:v>
                </c:pt>
                <c:pt idx="1801">
                  <c:v>52.004100000000001</c:v>
                </c:pt>
                <c:pt idx="1802">
                  <c:v>50.115400000000001</c:v>
                </c:pt>
                <c:pt idx="1803">
                  <c:v>43.207000000000001</c:v>
                </c:pt>
                <c:pt idx="1804">
                  <c:v>36.819099999999999</c:v>
                </c:pt>
                <c:pt idx="1805">
                  <c:v>44.752899999999997</c:v>
                </c:pt>
                <c:pt idx="1806">
                  <c:v>55.047899999999998</c:v>
                </c:pt>
                <c:pt idx="1807">
                  <c:v>66.855000000000004</c:v>
                </c:pt>
                <c:pt idx="1808">
                  <c:v>62.076999999999998</c:v>
                </c:pt>
                <c:pt idx="1809">
                  <c:v>41.6312</c:v>
                </c:pt>
                <c:pt idx="1810">
                  <c:v>36.227899999999998</c:v>
                </c:pt>
                <c:pt idx="1811">
                  <c:v>36.285800000000002</c:v>
                </c:pt>
                <c:pt idx="1812">
                  <c:v>42.3904</c:v>
                </c:pt>
                <c:pt idx="1813">
                  <c:v>47.686199999999999</c:v>
                </c:pt>
                <c:pt idx="1814">
                  <c:v>48.386200000000002</c:v>
                </c:pt>
                <c:pt idx="1815">
                  <c:v>42.0625</c:v>
                </c:pt>
                <c:pt idx="1816">
                  <c:v>39.759500000000003</c:v>
                </c:pt>
                <c:pt idx="1817">
                  <c:v>37.522500000000001</c:v>
                </c:pt>
                <c:pt idx="1818">
                  <c:v>35.415399999999998</c:v>
                </c:pt>
                <c:pt idx="1819">
                  <c:v>36.133699999999997</c:v>
                </c:pt>
                <c:pt idx="1820">
                  <c:v>35.36</c:v>
                </c:pt>
                <c:pt idx="1821">
                  <c:v>35.325800000000001</c:v>
                </c:pt>
                <c:pt idx="1822">
                  <c:v>36.853299999999997</c:v>
                </c:pt>
                <c:pt idx="1823">
                  <c:v>36.890799999999999</c:v>
                </c:pt>
                <c:pt idx="1824">
                  <c:v>34.458300000000001</c:v>
                </c:pt>
                <c:pt idx="1825">
                  <c:v>32.311599999999999</c:v>
                </c:pt>
                <c:pt idx="1826">
                  <c:v>32.1158</c:v>
                </c:pt>
                <c:pt idx="1827">
                  <c:v>31.734100000000002</c:v>
                </c:pt>
                <c:pt idx="1828">
                  <c:v>36.675400000000003</c:v>
                </c:pt>
                <c:pt idx="1829">
                  <c:v>35.099499999999999</c:v>
                </c:pt>
                <c:pt idx="1830">
                  <c:v>34.807499999999997</c:v>
                </c:pt>
                <c:pt idx="1831">
                  <c:v>35.375399999999999</c:v>
                </c:pt>
                <c:pt idx="1832">
                  <c:v>34.825400000000002</c:v>
                </c:pt>
                <c:pt idx="1833">
                  <c:v>38.521599999999999</c:v>
                </c:pt>
                <c:pt idx="1834">
                  <c:v>40.507899999999999</c:v>
                </c:pt>
                <c:pt idx="1835">
                  <c:v>39.255000000000003</c:v>
                </c:pt>
                <c:pt idx="1836">
                  <c:v>40.586199999999998</c:v>
                </c:pt>
                <c:pt idx="1837">
                  <c:v>41.819099999999999</c:v>
                </c:pt>
                <c:pt idx="1838">
                  <c:v>40.395000000000003</c:v>
                </c:pt>
                <c:pt idx="1839">
                  <c:v>39.357900000000001</c:v>
                </c:pt>
                <c:pt idx="1840">
                  <c:v>46.293700000000001</c:v>
                </c:pt>
                <c:pt idx="1841">
                  <c:v>47.838700000000003</c:v>
                </c:pt>
                <c:pt idx="1842">
                  <c:v>51.112000000000002</c:v>
                </c:pt>
                <c:pt idx="1843">
                  <c:v>53.435400000000001</c:v>
                </c:pt>
                <c:pt idx="1844">
                  <c:v>47.779499999999999</c:v>
                </c:pt>
                <c:pt idx="1845">
                  <c:v>40.159100000000002</c:v>
                </c:pt>
                <c:pt idx="1846">
                  <c:v>38.414099999999998</c:v>
                </c:pt>
                <c:pt idx="1847">
                  <c:v>41.2258</c:v>
                </c:pt>
                <c:pt idx="1848">
                  <c:v>46.947499999999998</c:v>
                </c:pt>
                <c:pt idx="1849">
                  <c:v>54.24</c:v>
                </c:pt>
                <c:pt idx="1850">
                  <c:v>55.9041</c:v>
                </c:pt>
                <c:pt idx="1851">
                  <c:v>50.866599999999998</c:v>
                </c:pt>
                <c:pt idx="1852">
                  <c:v>37.502000000000002</c:v>
                </c:pt>
                <c:pt idx="1853">
                  <c:v>36.026600000000002</c:v>
                </c:pt>
                <c:pt idx="1854">
                  <c:v>37.748699999999999</c:v>
                </c:pt>
                <c:pt idx="1855">
                  <c:v>37.035800000000002</c:v>
                </c:pt>
                <c:pt idx="1856">
                  <c:v>35.577500000000001</c:v>
                </c:pt>
                <c:pt idx="1857">
                  <c:v>35.953299999999999</c:v>
                </c:pt>
                <c:pt idx="1858">
                  <c:v>38.550800000000002</c:v>
                </c:pt>
                <c:pt idx="1859">
                  <c:v>36.499099999999999</c:v>
                </c:pt>
                <c:pt idx="1860">
                  <c:v>35.934100000000001</c:v>
                </c:pt>
                <c:pt idx="1861">
                  <c:v>36.79</c:v>
                </c:pt>
                <c:pt idx="1862">
                  <c:v>37.07</c:v>
                </c:pt>
                <c:pt idx="1863">
                  <c:v>39.4</c:v>
                </c:pt>
                <c:pt idx="1864">
                  <c:v>41.06</c:v>
                </c:pt>
                <c:pt idx="1865">
                  <c:v>39.799999999999997</c:v>
                </c:pt>
                <c:pt idx="1866">
                  <c:v>38.700000000000003</c:v>
                </c:pt>
                <c:pt idx="1867">
                  <c:v>37.795000000000002</c:v>
                </c:pt>
                <c:pt idx="1868">
                  <c:v>41.986600000000003</c:v>
                </c:pt>
                <c:pt idx="1869">
                  <c:v>43.095799999999997</c:v>
                </c:pt>
                <c:pt idx="1870">
                  <c:v>45.171199999999999</c:v>
                </c:pt>
                <c:pt idx="1871">
                  <c:v>39.961199999999998</c:v>
                </c:pt>
                <c:pt idx="1872">
                  <c:v>40.230800000000002</c:v>
                </c:pt>
                <c:pt idx="1873">
                  <c:v>38.518300000000004</c:v>
                </c:pt>
                <c:pt idx="1874">
                  <c:v>37.7166</c:v>
                </c:pt>
                <c:pt idx="1875">
                  <c:v>39.480400000000003</c:v>
                </c:pt>
                <c:pt idx="1876">
                  <c:v>38.839100000000002</c:v>
                </c:pt>
                <c:pt idx="1877">
                  <c:v>39.704500000000003</c:v>
                </c:pt>
                <c:pt idx="1878">
                  <c:v>43.675800000000002</c:v>
                </c:pt>
                <c:pt idx="1879">
                  <c:v>42.899099999999997</c:v>
                </c:pt>
                <c:pt idx="1880">
                  <c:v>38.510800000000003</c:v>
                </c:pt>
                <c:pt idx="1881">
                  <c:v>37.722499999999997</c:v>
                </c:pt>
                <c:pt idx="1882">
                  <c:v>39.942</c:v>
                </c:pt>
                <c:pt idx="1883">
                  <c:v>40.462000000000003</c:v>
                </c:pt>
                <c:pt idx="1884">
                  <c:v>41.210799999999999</c:v>
                </c:pt>
                <c:pt idx="1885">
                  <c:v>40.070799999999998</c:v>
                </c:pt>
                <c:pt idx="1886">
                  <c:v>40.435000000000002</c:v>
                </c:pt>
                <c:pt idx="1887">
                  <c:v>39.0991</c:v>
                </c:pt>
                <c:pt idx="1888">
                  <c:v>39.11</c:v>
                </c:pt>
                <c:pt idx="1889">
                  <c:v>42.692500000000003</c:v>
                </c:pt>
                <c:pt idx="1890">
                  <c:v>40.915799999999997</c:v>
                </c:pt>
                <c:pt idx="1891">
                  <c:v>41.476199999999999</c:v>
                </c:pt>
                <c:pt idx="1892">
                  <c:v>41.406199999999998</c:v>
                </c:pt>
                <c:pt idx="1893">
                  <c:v>40.756999999999998</c:v>
                </c:pt>
                <c:pt idx="1894">
                  <c:v>39.932499999999997</c:v>
                </c:pt>
                <c:pt idx="1895">
                  <c:v>39.648299999999999</c:v>
                </c:pt>
                <c:pt idx="1896">
                  <c:v>43.9925</c:v>
                </c:pt>
                <c:pt idx="1897">
                  <c:v>47.182499999999997</c:v>
                </c:pt>
                <c:pt idx="1898">
                  <c:v>50.1158</c:v>
                </c:pt>
                <c:pt idx="1899">
                  <c:v>53.459499999999998</c:v>
                </c:pt>
                <c:pt idx="1900">
                  <c:v>48.588299999999997</c:v>
                </c:pt>
                <c:pt idx="1901">
                  <c:v>42.36</c:v>
                </c:pt>
                <c:pt idx="1902">
                  <c:v>41.233699999999999</c:v>
                </c:pt>
                <c:pt idx="1903">
                  <c:v>42.87</c:v>
                </c:pt>
                <c:pt idx="1904">
                  <c:v>44.955399999999997</c:v>
                </c:pt>
                <c:pt idx="1905">
                  <c:v>48.426200000000001</c:v>
                </c:pt>
                <c:pt idx="1906">
                  <c:v>56.360399999999998</c:v>
                </c:pt>
                <c:pt idx="1907">
                  <c:v>47.032499999999999</c:v>
                </c:pt>
                <c:pt idx="1908">
                  <c:v>44.3491</c:v>
                </c:pt>
                <c:pt idx="1909">
                  <c:v>44.582900000000002</c:v>
                </c:pt>
                <c:pt idx="1910">
                  <c:v>46.397500000000001</c:v>
                </c:pt>
                <c:pt idx="1911">
                  <c:v>45.871200000000002</c:v>
                </c:pt>
                <c:pt idx="1912">
                  <c:v>47.491599999999998</c:v>
                </c:pt>
                <c:pt idx="1913">
                  <c:v>48.4983</c:v>
                </c:pt>
                <c:pt idx="1914">
                  <c:v>47.155000000000001</c:v>
                </c:pt>
                <c:pt idx="1915">
                  <c:v>47.146999999999998</c:v>
                </c:pt>
                <c:pt idx="1916">
                  <c:v>46.403399999999998</c:v>
                </c:pt>
                <c:pt idx="1917">
                  <c:v>47.42</c:v>
                </c:pt>
                <c:pt idx="1918">
                  <c:v>56.375</c:v>
                </c:pt>
                <c:pt idx="1919">
                  <c:v>49.877899999999997</c:v>
                </c:pt>
                <c:pt idx="1920">
                  <c:v>50.410800000000002</c:v>
                </c:pt>
                <c:pt idx="1921">
                  <c:v>52.523299999999999</c:v>
                </c:pt>
                <c:pt idx="1922">
                  <c:v>49.444099999999999</c:v>
                </c:pt>
                <c:pt idx="1923">
                  <c:v>48.565399999999997</c:v>
                </c:pt>
                <c:pt idx="1924">
                  <c:v>58.539099999999998</c:v>
                </c:pt>
                <c:pt idx="1925">
                  <c:v>53.430399999999999</c:v>
                </c:pt>
                <c:pt idx="1926">
                  <c:v>53.575000000000003</c:v>
                </c:pt>
                <c:pt idx="1927">
                  <c:v>54.2029</c:v>
                </c:pt>
                <c:pt idx="1928">
                  <c:v>53.374499999999998</c:v>
                </c:pt>
                <c:pt idx="1929">
                  <c:v>51.402500000000003</c:v>
                </c:pt>
                <c:pt idx="1930">
                  <c:v>47.001600000000003</c:v>
                </c:pt>
                <c:pt idx="1931">
                  <c:v>49.904499999999999</c:v>
                </c:pt>
                <c:pt idx="1932">
                  <c:v>50.384999999999998</c:v>
                </c:pt>
                <c:pt idx="1933">
                  <c:v>45.232500000000002</c:v>
                </c:pt>
                <c:pt idx="1934">
                  <c:v>39.072000000000003</c:v>
                </c:pt>
                <c:pt idx="1935">
                  <c:v>36.983699999999999</c:v>
                </c:pt>
                <c:pt idx="1936">
                  <c:v>38.712499999999999</c:v>
                </c:pt>
                <c:pt idx="1937">
                  <c:v>38.451999999999998</c:v>
                </c:pt>
                <c:pt idx="1938">
                  <c:v>41.999499999999998</c:v>
                </c:pt>
                <c:pt idx="1939">
                  <c:v>37.456200000000003</c:v>
                </c:pt>
                <c:pt idx="1940">
                  <c:v>39.921599999999998</c:v>
                </c:pt>
                <c:pt idx="1941">
                  <c:v>40.715800000000002</c:v>
                </c:pt>
                <c:pt idx="1942">
                  <c:v>40.179499999999997</c:v>
                </c:pt>
                <c:pt idx="1943">
                  <c:v>37.884099999999997</c:v>
                </c:pt>
                <c:pt idx="1944">
                  <c:v>35.836199999999998</c:v>
                </c:pt>
                <c:pt idx="1945">
                  <c:v>38.7729</c:v>
                </c:pt>
                <c:pt idx="1946">
                  <c:v>39.519500000000001</c:v>
                </c:pt>
                <c:pt idx="1947">
                  <c:v>38.770800000000001</c:v>
                </c:pt>
                <c:pt idx="1948">
                  <c:v>41.713700000000003</c:v>
                </c:pt>
                <c:pt idx="1949">
                  <c:v>40.97</c:v>
                </c:pt>
                <c:pt idx="1950">
                  <c:v>38.2637</c:v>
                </c:pt>
                <c:pt idx="1951">
                  <c:v>38.494999999999997</c:v>
                </c:pt>
                <c:pt idx="1952">
                  <c:v>43.744100000000003</c:v>
                </c:pt>
                <c:pt idx="1953">
                  <c:v>40.926200000000001</c:v>
                </c:pt>
                <c:pt idx="1954">
                  <c:v>38.204999999999998</c:v>
                </c:pt>
                <c:pt idx="1955">
                  <c:v>35.252000000000002</c:v>
                </c:pt>
                <c:pt idx="1956">
                  <c:v>35.619100000000003</c:v>
                </c:pt>
                <c:pt idx="1957">
                  <c:v>33.575000000000003</c:v>
                </c:pt>
                <c:pt idx="1958">
                  <c:v>34.169499999999999</c:v>
                </c:pt>
                <c:pt idx="1959">
                  <c:v>39.626199999999997</c:v>
                </c:pt>
                <c:pt idx="1960">
                  <c:v>39.814999999999998</c:v>
                </c:pt>
                <c:pt idx="1961">
                  <c:v>38.692900000000002</c:v>
                </c:pt>
                <c:pt idx="1962">
                  <c:v>36.379100000000001</c:v>
                </c:pt>
                <c:pt idx="1963">
                  <c:v>34.195</c:v>
                </c:pt>
                <c:pt idx="1964">
                  <c:v>30.526199999999999</c:v>
                </c:pt>
                <c:pt idx="1965">
                  <c:v>30.496600000000001</c:v>
                </c:pt>
                <c:pt idx="1966">
                  <c:v>33.046199999999999</c:v>
                </c:pt>
                <c:pt idx="1967">
                  <c:v>37.484999999999999</c:v>
                </c:pt>
                <c:pt idx="1968">
                  <c:v>33.674100000000003</c:v>
                </c:pt>
                <c:pt idx="1969">
                  <c:v>38.195399999999999</c:v>
                </c:pt>
                <c:pt idx="1970">
                  <c:v>38.285400000000003</c:v>
                </c:pt>
                <c:pt idx="1971">
                  <c:v>33.215000000000003</c:v>
                </c:pt>
                <c:pt idx="1972">
                  <c:v>28.7591</c:v>
                </c:pt>
                <c:pt idx="1973">
                  <c:v>40.85</c:v>
                </c:pt>
                <c:pt idx="1974">
                  <c:v>38.6</c:v>
                </c:pt>
                <c:pt idx="1975">
                  <c:v>38.659999999999997</c:v>
                </c:pt>
                <c:pt idx="1976">
                  <c:v>37.04</c:v>
                </c:pt>
                <c:pt idx="1977">
                  <c:v>35.76</c:v>
                </c:pt>
                <c:pt idx="1978">
                  <c:v>33.299999999999997</c:v>
                </c:pt>
                <c:pt idx="1979">
                  <c:v>30.52</c:v>
                </c:pt>
                <c:pt idx="1980">
                  <c:v>36.950000000000003</c:v>
                </c:pt>
                <c:pt idx="1981">
                  <c:v>38.78</c:v>
                </c:pt>
                <c:pt idx="1982">
                  <c:v>39.85</c:v>
                </c:pt>
                <c:pt idx="1983">
                  <c:v>40.340000000000003</c:v>
                </c:pt>
                <c:pt idx="1984">
                  <c:v>39.89</c:v>
                </c:pt>
                <c:pt idx="1985">
                  <c:v>35.58</c:v>
                </c:pt>
                <c:pt idx="1986">
                  <c:v>35.28</c:v>
                </c:pt>
                <c:pt idx="1987">
                  <c:v>39.97</c:v>
                </c:pt>
                <c:pt idx="1988">
                  <c:v>40.97</c:v>
                </c:pt>
                <c:pt idx="1989">
                  <c:v>39.29</c:v>
                </c:pt>
                <c:pt idx="1990">
                  <c:v>36.200000000000003</c:v>
                </c:pt>
                <c:pt idx="1991">
                  <c:v>33.76</c:v>
                </c:pt>
                <c:pt idx="1992">
                  <c:v>32.15</c:v>
                </c:pt>
                <c:pt idx="1993">
                  <c:v>28.34</c:v>
                </c:pt>
                <c:pt idx="1994">
                  <c:v>35.85</c:v>
                </c:pt>
                <c:pt idx="1995">
                  <c:v>35.94</c:v>
                </c:pt>
                <c:pt idx="1996">
                  <c:v>34.130000000000003</c:v>
                </c:pt>
                <c:pt idx="1997">
                  <c:v>34.17</c:v>
                </c:pt>
                <c:pt idx="1998">
                  <c:v>29.14</c:v>
                </c:pt>
                <c:pt idx="1999">
                  <c:v>17.48</c:v>
                </c:pt>
                <c:pt idx="2000">
                  <c:v>19.18</c:v>
                </c:pt>
                <c:pt idx="2001">
                  <c:v>31.39</c:v>
                </c:pt>
                <c:pt idx="2002">
                  <c:v>33.69</c:v>
                </c:pt>
                <c:pt idx="2003">
                  <c:v>30.69</c:v>
                </c:pt>
                <c:pt idx="2004">
                  <c:v>32.68</c:v>
                </c:pt>
                <c:pt idx="2005">
                  <c:v>32.99</c:v>
                </c:pt>
                <c:pt idx="2006">
                  <c:v>29.44</c:v>
                </c:pt>
                <c:pt idx="2007">
                  <c:v>25.96</c:v>
                </c:pt>
                <c:pt idx="2008">
                  <c:v>32.64</c:v>
                </c:pt>
                <c:pt idx="2009">
                  <c:v>33.22</c:v>
                </c:pt>
                <c:pt idx="2010">
                  <c:v>32.19</c:v>
                </c:pt>
                <c:pt idx="2011">
                  <c:v>33.119999999999997</c:v>
                </c:pt>
                <c:pt idx="2012">
                  <c:v>31.69</c:v>
                </c:pt>
                <c:pt idx="2013">
                  <c:v>29.12</c:v>
                </c:pt>
                <c:pt idx="2014">
                  <c:v>28.79</c:v>
                </c:pt>
                <c:pt idx="2015">
                  <c:v>32.119999999999997</c:v>
                </c:pt>
                <c:pt idx="2016">
                  <c:v>31.72</c:v>
                </c:pt>
                <c:pt idx="2017">
                  <c:v>30.94</c:v>
                </c:pt>
                <c:pt idx="2018">
                  <c:v>33.049999999999997</c:v>
                </c:pt>
                <c:pt idx="2019">
                  <c:v>33.56</c:v>
                </c:pt>
                <c:pt idx="2020">
                  <c:v>32.479999999999997</c:v>
                </c:pt>
                <c:pt idx="2021">
                  <c:v>30.72</c:v>
                </c:pt>
                <c:pt idx="2022">
                  <c:v>33.520000000000003</c:v>
                </c:pt>
                <c:pt idx="2023">
                  <c:v>34.659999999999997</c:v>
                </c:pt>
                <c:pt idx="2024">
                  <c:v>36.04</c:v>
                </c:pt>
                <c:pt idx="2025">
                  <c:v>35.86</c:v>
                </c:pt>
                <c:pt idx="2026">
                  <c:v>34.57</c:v>
                </c:pt>
                <c:pt idx="2027">
                  <c:v>34.380000000000003</c:v>
                </c:pt>
                <c:pt idx="2028">
                  <c:v>34.14</c:v>
                </c:pt>
                <c:pt idx="2029">
                  <c:v>36.46</c:v>
                </c:pt>
                <c:pt idx="2030">
                  <c:v>36.270000000000003</c:v>
                </c:pt>
                <c:pt idx="2031">
                  <c:v>37.159999999999997</c:v>
                </c:pt>
                <c:pt idx="2032">
                  <c:v>37.1</c:v>
                </c:pt>
                <c:pt idx="2033">
                  <c:v>36.76</c:v>
                </c:pt>
                <c:pt idx="2034">
                  <c:v>35.19</c:v>
                </c:pt>
                <c:pt idx="2035">
                  <c:v>33.22</c:v>
                </c:pt>
                <c:pt idx="2036">
                  <c:v>36.5</c:v>
                </c:pt>
                <c:pt idx="2037">
                  <c:v>35.53</c:v>
                </c:pt>
                <c:pt idx="2038">
                  <c:v>35.31</c:v>
                </c:pt>
                <c:pt idx="2039">
                  <c:v>36.21</c:v>
                </c:pt>
                <c:pt idx="2040">
                  <c:v>35.159999999999997</c:v>
                </c:pt>
                <c:pt idx="2041">
                  <c:v>33.46</c:v>
                </c:pt>
                <c:pt idx="2042">
                  <c:v>34.130000000000003</c:v>
                </c:pt>
                <c:pt idx="2043">
                  <c:v>35.159999999999997</c:v>
                </c:pt>
                <c:pt idx="2044">
                  <c:v>35.54</c:v>
                </c:pt>
                <c:pt idx="2045">
                  <c:v>36.020000000000003</c:v>
                </c:pt>
                <c:pt idx="2046">
                  <c:v>36.229999999999997</c:v>
                </c:pt>
                <c:pt idx="2047">
                  <c:v>35.94</c:v>
                </c:pt>
                <c:pt idx="2048">
                  <c:v>34.450000000000003</c:v>
                </c:pt>
                <c:pt idx="2049">
                  <c:v>33.47</c:v>
                </c:pt>
                <c:pt idx="2050">
                  <c:v>36.08</c:v>
                </c:pt>
                <c:pt idx="2051">
                  <c:v>35.32</c:v>
                </c:pt>
                <c:pt idx="2052">
                  <c:v>34.659999999999997</c:v>
                </c:pt>
                <c:pt idx="2053">
                  <c:v>35.15</c:v>
                </c:pt>
                <c:pt idx="2054">
                  <c:v>34.67</c:v>
                </c:pt>
                <c:pt idx="2055">
                  <c:v>33.28</c:v>
                </c:pt>
                <c:pt idx="2056">
                  <c:v>29.71</c:v>
                </c:pt>
                <c:pt idx="2057">
                  <c:v>36.81</c:v>
                </c:pt>
                <c:pt idx="2058">
                  <c:v>36.590000000000003</c:v>
                </c:pt>
                <c:pt idx="2059">
                  <c:v>36.369999999999997</c:v>
                </c:pt>
                <c:pt idx="2060">
                  <c:v>36.82</c:v>
                </c:pt>
                <c:pt idx="2061">
                  <c:v>36.17</c:v>
                </c:pt>
                <c:pt idx="2062">
                  <c:v>33.909999999999997</c:v>
                </c:pt>
                <c:pt idx="2063">
                  <c:v>33.6</c:v>
                </c:pt>
                <c:pt idx="2064">
                  <c:v>37.57</c:v>
                </c:pt>
                <c:pt idx="2065">
                  <c:v>37.9</c:v>
                </c:pt>
                <c:pt idx="2066">
                  <c:v>38.229999999999997</c:v>
                </c:pt>
                <c:pt idx="2067">
                  <c:v>37.92</c:v>
                </c:pt>
                <c:pt idx="2068">
                  <c:v>36.85</c:v>
                </c:pt>
                <c:pt idx="2069">
                  <c:v>34.03</c:v>
                </c:pt>
                <c:pt idx="2070">
                  <c:v>32.549999999999997</c:v>
                </c:pt>
                <c:pt idx="2071">
                  <c:v>34.700000000000003</c:v>
                </c:pt>
                <c:pt idx="2072">
                  <c:v>38.04</c:v>
                </c:pt>
                <c:pt idx="2073">
                  <c:v>38.96</c:v>
                </c:pt>
                <c:pt idx="2074">
                  <c:v>38.86</c:v>
                </c:pt>
                <c:pt idx="2075">
                  <c:v>36.92</c:v>
                </c:pt>
                <c:pt idx="2076">
                  <c:v>36.69</c:v>
                </c:pt>
                <c:pt idx="2077">
                  <c:v>35.97</c:v>
                </c:pt>
                <c:pt idx="2078">
                  <c:v>40.6</c:v>
                </c:pt>
                <c:pt idx="2079">
                  <c:v>41.67</c:v>
                </c:pt>
                <c:pt idx="2080">
                  <c:v>42.06</c:v>
                </c:pt>
                <c:pt idx="2081">
                  <c:v>42.04</c:v>
                </c:pt>
                <c:pt idx="2082">
                  <c:v>42.29</c:v>
                </c:pt>
                <c:pt idx="2083">
                  <c:v>38.17</c:v>
                </c:pt>
                <c:pt idx="2084">
                  <c:v>36.44</c:v>
                </c:pt>
                <c:pt idx="2085">
                  <c:v>37.71</c:v>
                </c:pt>
                <c:pt idx="2086">
                  <c:v>38.1</c:v>
                </c:pt>
                <c:pt idx="2087">
                  <c:v>39.22</c:v>
                </c:pt>
                <c:pt idx="2088">
                  <c:v>39.590000000000003</c:v>
                </c:pt>
                <c:pt idx="2089">
                  <c:v>39.46</c:v>
                </c:pt>
                <c:pt idx="2090">
                  <c:v>35.58</c:v>
                </c:pt>
                <c:pt idx="2091">
                  <c:v>33.229999999999997</c:v>
                </c:pt>
                <c:pt idx="2092">
                  <c:v>36.03</c:v>
                </c:pt>
                <c:pt idx="2093">
                  <c:v>40.549999999999997</c:v>
                </c:pt>
                <c:pt idx="2094">
                  <c:v>42.12</c:v>
                </c:pt>
                <c:pt idx="2095">
                  <c:v>40.51</c:v>
                </c:pt>
                <c:pt idx="2096">
                  <c:v>39.729999999999997</c:v>
                </c:pt>
                <c:pt idx="2097">
                  <c:v>37.96</c:v>
                </c:pt>
                <c:pt idx="2098">
                  <c:v>37.15</c:v>
                </c:pt>
                <c:pt idx="2099">
                  <c:v>39.72</c:v>
                </c:pt>
                <c:pt idx="2100">
                  <c:v>41.36</c:v>
                </c:pt>
                <c:pt idx="2101">
                  <c:v>39.659999999999997</c:v>
                </c:pt>
                <c:pt idx="2102">
                  <c:v>37.93</c:v>
                </c:pt>
                <c:pt idx="2103">
                  <c:v>37.74</c:v>
                </c:pt>
                <c:pt idx="2104">
                  <c:v>36.880000000000003</c:v>
                </c:pt>
                <c:pt idx="2105">
                  <c:v>37.25</c:v>
                </c:pt>
                <c:pt idx="2106">
                  <c:v>38.869999999999997</c:v>
                </c:pt>
                <c:pt idx="2107">
                  <c:v>39.049999999999997</c:v>
                </c:pt>
                <c:pt idx="2108">
                  <c:v>37.97</c:v>
                </c:pt>
                <c:pt idx="2109">
                  <c:v>38.69</c:v>
                </c:pt>
                <c:pt idx="2110">
                  <c:v>37.89</c:v>
                </c:pt>
                <c:pt idx="2111">
                  <c:v>37.28</c:v>
                </c:pt>
                <c:pt idx="2112">
                  <c:v>37.450000000000003</c:v>
                </c:pt>
                <c:pt idx="2113">
                  <c:v>41.17</c:v>
                </c:pt>
                <c:pt idx="2114">
                  <c:v>42.08</c:v>
                </c:pt>
                <c:pt idx="2115">
                  <c:v>43.14</c:v>
                </c:pt>
                <c:pt idx="2116">
                  <c:v>40.97</c:v>
                </c:pt>
                <c:pt idx="2117">
                  <c:v>40.92</c:v>
                </c:pt>
                <c:pt idx="2118">
                  <c:v>39.65</c:v>
                </c:pt>
                <c:pt idx="2119">
                  <c:v>39.32</c:v>
                </c:pt>
                <c:pt idx="2120">
                  <c:v>44.11</c:v>
                </c:pt>
                <c:pt idx="2121">
                  <c:v>39.93</c:v>
                </c:pt>
                <c:pt idx="2122">
                  <c:v>37.75</c:v>
                </c:pt>
                <c:pt idx="2123">
                  <c:v>37.35</c:v>
                </c:pt>
                <c:pt idx="2124">
                  <c:v>37.72</c:v>
                </c:pt>
                <c:pt idx="2125">
                  <c:v>33.93</c:v>
                </c:pt>
                <c:pt idx="2126">
                  <c:v>34.28</c:v>
                </c:pt>
                <c:pt idx="2127">
                  <c:v>34.369999999999997</c:v>
                </c:pt>
                <c:pt idx="2128">
                  <c:v>34.76</c:v>
                </c:pt>
                <c:pt idx="2129">
                  <c:v>34.5</c:v>
                </c:pt>
                <c:pt idx="2130">
                  <c:v>34.51</c:v>
                </c:pt>
                <c:pt idx="2131">
                  <c:v>34.53</c:v>
                </c:pt>
                <c:pt idx="2132">
                  <c:v>34.229999999999997</c:v>
                </c:pt>
                <c:pt idx="2133">
                  <c:v>32.93</c:v>
                </c:pt>
                <c:pt idx="2134">
                  <c:v>34.65</c:v>
                </c:pt>
                <c:pt idx="2135">
                  <c:v>36.31</c:v>
                </c:pt>
                <c:pt idx="2136">
                  <c:v>37.229999999999997</c:v>
                </c:pt>
                <c:pt idx="2137">
                  <c:v>36.96</c:v>
                </c:pt>
                <c:pt idx="2138">
                  <c:v>36.72</c:v>
                </c:pt>
                <c:pt idx="2139">
                  <c:v>35.18</c:v>
                </c:pt>
                <c:pt idx="2140">
                  <c:v>34.69</c:v>
                </c:pt>
                <c:pt idx="2141">
                  <c:v>38.11</c:v>
                </c:pt>
                <c:pt idx="2142">
                  <c:v>36.369999999999997</c:v>
                </c:pt>
                <c:pt idx="2143">
                  <c:v>36.4</c:v>
                </c:pt>
                <c:pt idx="2144">
                  <c:v>37.56</c:v>
                </c:pt>
                <c:pt idx="2145">
                  <c:v>36.340000000000003</c:v>
                </c:pt>
                <c:pt idx="2146">
                  <c:v>32.83</c:v>
                </c:pt>
                <c:pt idx="2147">
                  <c:v>33.39</c:v>
                </c:pt>
                <c:pt idx="2148">
                  <c:v>37.53</c:v>
                </c:pt>
                <c:pt idx="2149">
                  <c:v>38.450000000000003</c:v>
                </c:pt>
                <c:pt idx="2150">
                  <c:v>40.909999999999997</c:v>
                </c:pt>
                <c:pt idx="2151">
                  <c:v>41.03</c:v>
                </c:pt>
                <c:pt idx="2152">
                  <c:v>41.14</c:v>
                </c:pt>
                <c:pt idx="2153">
                  <c:v>37.020000000000003</c:v>
                </c:pt>
                <c:pt idx="2154">
                  <c:v>34.97</c:v>
                </c:pt>
                <c:pt idx="2155">
                  <c:v>41.02</c:v>
                </c:pt>
                <c:pt idx="2156">
                  <c:v>41.68</c:v>
                </c:pt>
                <c:pt idx="2157">
                  <c:v>35.86</c:v>
                </c:pt>
                <c:pt idx="2158">
                  <c:v>34.340000000000003</c:v>
                </c:pt>
                <c:pt idx="2159">
                  <c:v>36.76</c:v>
                </c:pt>
                <c:pt idx="2160">
                  <c:v>35.86</c:v>
                </c:pt>
                <c:pt idx="2161">
                  <c:v>33.67</c:v>
                </c:pt>
                <c:pt idx="2162">
                  <c:v>42.03</c:v>
                </c:pt>
                <c:pt idx="2163">
                  <c:v>36.299999999999997</c:v>
                </c:pt>
                <c:pt idx="2164">
                  <c:v>35.380000000000003</c:v>
                </c:pt>
                <c:pt idx="2165">
                  <c:v>34.53</c:v>
                </c:pt>
                <c:pt idx="2166">
                  <c:v>34.15</c:v>
                </c:pt>
                <c:pt idx="2167">
                  <c:v>35.49</c:v>
                </c:pt>
                <c:pt idx="2168">
                  <c:v>35.61</c:v>
                </c:pt>
                <c:pt idx="2169">
                  <c:v>43.09</c:v>
                </c:pt>
                <c:pt idx="2170">
                  <c:v>38.51</c:v>
                </c:pt>
                <c:pt idx="2171">
                  <c:v>36.32</c:v>
                </c:pt>
                <c:pt idx="2172">
                  <c:v>34.11</c:v>
                </c:pt>
                <c:pt idx="2173">
                  <c:v>34.22</c:v>
                </c:pt>
                <c:pt idx="2174">
                  <c:v>32.549999999999997</c:v>
                </c:pt>
                <c:pt idx="2175">
                  <c:v>30.78</c:v>
                </c:pt>
                <c:pt idx="2176">
                  <c:v>31.49</c:v>
                </c:pt>
                <c:pt idx="2177">
                  <c:v>32.799999999999997</c:v>
                </c:pt>
                <c:pt idx="2178">
                  <c:v>33.51</c:v>
                </c:pt>
                <c:pt idx="2179">
                  <c:v>31.21</c:v>
                </c:pt>
                <c:pt idx="2180">
                  <c:v>31.3</c:v>
                </c:pt>
                <c:pt idx="2181">
                  <c:v>28.97</c:v>
                </c:pt>
                <c:pt idx="2182">
                  <c:v>27.68</c:v>
                </c:pt>
                <c:pt idx="2183">
                  <c:v>29.41</c:v>
                </c:pt>
                <c:pt idx="2184">
                  <c:v>27.35</c:v>
                </c:pt>
                <c:pt idx="2185">
                  <c:v>28.27</c:v>
                </c:pt>
                <c:pt idx="2186">
                  <c:v>29.46</c:v>
                </c:pt>
                <c:pt idx="2187">
                  <c:v>29.53</c:v>
                </c:pt>
                <c:pt idx="2188">
                  <c:v>27.9</c:v>
                </c:pt>
                <c:pt idx="2189">
                  <c:v>28.49</c:v>
                </c:pt>
                <c:pt idx="2190">
                  <c:v>29.45</c:v>
                </c:pt>
                <c:pt idx="2191">
                  <c:v>28.99</c:v>
                </c:pt>
                <c:pt idx="2192">
                  <c:v>28.25</c:v>
                </c:pt>
                <c:pt idx="2193">
                  <c:v>29.89</c:v>
                </c:pt>
                <c:pt idx="2194">
                  <c:v>29.3</c:v>
                </c:pt>
                <c:pt idx="2195">
                  <c:v>27.96</c:v>
                </c:pt>
                <c:pt idx="2196">
                  <c:v>29.05</c:v>
                </c:pt>
                <c:pt idx="2197">
                  <c:v>28.19</c:v>
                </c:pt>
                <c:pt idx="2198">
                  <c:v>29.16</c:v>
                </c:pt>
                <c:pt idx="2199">
                  <c:v>29.36</c:v>
                </c:pt>
                <c:pt idx="2200">
                  <c:v>29.72</c:v>
                </c:pt>
                <c:pt idx="2201">
                  <c:v>30.17</c:v>
                </c:pt>
                <c:pt idx="2202">
                  <c:v>29.82</c:v>
                </c:pt>
                <c:pt idx="2203">
                  <c:v>30.4</c:v>
                </c:pt>
                <c:pt idx="2204">
                  <c:v>39.159999999999997</c:v>
                </c:pt>
                <c:pt idx="2205">
                  <c:v>41.65</c:v>
                </c:pt>
                <c:pt idx="2206">
                  <c:v>41.6</c:v>
                </c:pt>
                <c:pt idx="2207">
                  <c:v>32.53</c:v>
                </c:pt>
                <c:pt idx="2208">
                  <c:v>34.21</c:v>
                </c:pt>
                <c:pt idx="2209">
                  <c:v>30.9</c:v>
                </c:pt>
                <c:pt idx="2210">
                  <c:v>30.7</c:v>
                </c:pt>
                <c:pt idx="2211">
                  <c:v>34.590000000000003</c:v>
                </c:pt>
                <c:pt idx="2212">
                  <c:v>42.12</c:v>
                </c:pt>
                <c:pt idx="2213">
                  <c:v>42.43</c:v>
                </c:pt>
                <c:pt idx="2214">
                  <c:v>40.4</c:v>
                </c:pt>
                <c:pt idx="2215">
                  <c:v>41.52</c:v>
                </c:pt>
                <c:pt idx="2216">
                  <c:v>32.520000000000003</c:v>
                </c:pt>
                <c:pt idx="2217">
                  <c:v>31.56</c:v>
                </c:pt>
                <c:pt idx="2218">
                  <c:v>33.020000000000003</c:v>
                </c:pt>
                <c:pt idx="2219">
                  <c:v>33.869999999999997</c:v>
                </c:pt>
                <c:pt idx="2220">
                  <c:v>34.450000000000003</c:v>
                </c:pt>
                <c:pt idx="2221">
                  <c:v>35.93</c:v>
                </c:pt>
                <c:pt idx="2222">
                  <c:v>37.15</c:v>
                </c:pt>
                <c:pt idx="2223">
                  <c:v>31.1</c:v>
                </c:pt>
                <c:pt idx="2224">
                  <c:v>30.27</c:v>
                </c:pt>
                <c:pt idx="2225">
                  <c:v>33.24</c:v>
                </c:pt>
                <c:pt idx="2226">
                  <c:v>32.409999999999997</c:v>
                </c:pt>
                <c:pt idx="2227">
                  <c:v>31.85</c:v>
                </c:pt>
                <c:pt idx="2228">
                  <c:v>31.42</c:v>
                </c:pt>
                <c:pt idx="2229">
                  <c:v>30.41</c:v>
                </c:pt>
                <c:pt idx="2230">
                  <c:v>28.84</c:v>
                </c:pt>
                <c:pt idx="2231">
                  <c:v>28.17</c:v>
                </c:pt>
                <c:pt idx="2232">
                  <c:v>31.08</c:v>
                </c:pt>
                <c:pt idx="2233">
                  <c:v>31.84</c:v>
                </c:pt>
                <c:pt idx="2234">
                  <c:v>31.42</c:v>
                </c:pt>
                <c:pt idx="2235">
                  <c:v>31</c:v>
                </c:pt>
                <c:pt idx="2236">
                  <c:v>31.02</c:v>
                </c:pt>
                <c:pt idx="2237">
                  <c:v>27.74</c:v>
                </c:pt>
                <c:pt idx="2238">
                  <c:v>27.64</c:v>
                </c:pt>
                <c:pt idx="2239">
                  <c:v>30.47</c:v>
                </c:pt>
                <c:pt idx="2240">
                  <c:v>31.67</c:v>
                </c:pt>
                <c:pt idx="2241">
                  <c:v>33.79</c:v>
                </c:pt>
                <c:pt idx="2242">
                  <c:v>32.01</c:v>
                </c:pt>
                <c:pt idx="2243">
                  <c:v>29.79</c:v>
                </c:pt>
                <c:pt idx="2244">
                  <c:v>27.72</c:v>
                </c:pt>
                <c:pt idx="2245">
                  <c:v>26.18</c:v>
                </c:pt>
                <c:pt idx="2246">
                  <c:v>27.55</c:v>
                </c:pt>
                <c:pt idx="2247">
                  <c:v>28.2</c:v>
                </c:pt>
                <c:pt idx="2248">
                  <c:v>30.18</c:v>
                </c:pt>
                <c:pt idx="2249">
                  <c:v>29.63</c:v>
                </c:pt>
                <c:pt idx="2250">
                  <c:v>29.83</c:v>
                </c:pt>
                <c:pt idx="2251">
                  <c:v>28.89</c:v>
                </c:pt>
                <c:pt idx="2252">
                  <c:v>27.79</c:v>
                </c:pt>
                <c:pt idx="2253">
                  <c:v>28.17</c:v>
                </c:pt>
                <c:pt idx="2254">
                  <c:v>30.61</c:v>
                </c:pt>
                <c:pt idx="2255">
                  <c:v>31.27</c:v>
                </c:pt>
                <c:pt idx="2256">
                  <c:v>28.57</c:v>
                </c:pt>
                <c:pt idx="2257">
                  <c:v>26.37</c:v>
                </c:pt>
                <c:pt idx="2258">
                  <c:v>25.62</c:v>
                </c:pt>
                <c:pt idx="2259">
                  <c:v>23.53</c:v>
                </c:pt>
                <c:pt idx="2260">
                  <c:v>26.51</c:v>
                </c:pt>
                <c:pt idx="2261">
                  <c:v>27.21</c:v>
                </c:pt>
                <c:pt idx="2262">
                  <c:v>26.99</c:v>
                </c:pt>
                <c:pt idx="2263">
                  <c:v>27.19</c:v>
                </c:pt>
                <c:pt idx="2264">
                  <c:v>26.35</c:v>
                </c:pt>
                <c:pt idx="2265">
                  <c:v>23.47</c:v>
                </c:pt>
                <c:pt idx="2266">
                  <c:v>23.98</c:v>
                </c:pt>
                <c:pt idx="2267">
                  <c:v>25.9</c:v>
                </c:pt>
                <c:pt idx="2268">
                  <c:v>26.85</c:v>
                </c:pt>
                <c:pt idx="2269">
                  <c:v>25.54</c:v>
                </c:pt>
                <c:pt idx="2270">
                  <c:v>24.43</c:v>
                </c:pt>
                <c:pt idx="2271">
                  <c:v>23.49</c:v>
                </c:pt>
                <c:pt idx="2272">
                  <c:v>24.13</c:v>
                </c:pt>
                <c:pt idx="2273">
                  <c:v>23.76</c:v>
                </c:pt>
                <c:pt idx="2274">
                  <c:v>27.59</c:v>
                </c:pt>
                <c:pt idx="2275">
                  <c:v>27.32</c:v>
                </c:pt>
                <c:pt idx="2276">
                  <c:v>27.33</c:v>
                </c:pt>
                <c:pt idx="2277">
                  <c:v>28.08</c:v>
                </c:pt>
                <c:pt idx="2278">
                  <c:v>28.57</c:v>
                </c:pt>
                <c:pt idx="2279">
                  <c:v>27.09</c:v>
                </c:pt>
                <c:pt idx="2280">
                  <c:v>26.78</c:v>
                </c:pt>
                <c:pt idx="2281">
                  <c:v>29.47</c:v>
                </c:pt>
                <c:pt idx="2282">
                  <c:v>31.66</c:v>
                </c:pt>
                <c:pt idx="2283">
                  <c:v>31.3</c:v>
                </c:pt>
                <c:pt idx="2284">
                  <c:v>29.77</c:v>
                </c:pt>
                <c:pt idx="2285">
                  <c:v>28.07</c:v>
                </c:pt>
                <c:pt idx="2286">
                  <c:v>27.09</c:v>
                </c:pt>
                <c:pt idx="2287">
                  <c:v>25.85</c:v>
                </c:pt>
                <c:pt idx="2288">
                  <c:v>28.1</c:v>
                </c:pt>
                <c:pt idx="2289">
                  <c:v>25.96</c:v>
                </c:pt>
                <c:pt idx="2290">
                  <c:v>25.51</c:v>
                </c:pt>
                <c:pt idx="2291">
                  <c:v>29.17</c:v>
                </c:pt>
                <c:pt idx="2292">
                  <c:v>26.82</c:v>
                </c:pt>
                <c:pt idx="2293">
                  <c:v>24.18</c:v>
                </c:pt>
                <c:pt idx="2294">
                  <c:v>19.39</c:v>
                </c:pt>
                <c:pt idx="2295">
                  <c:v>22.95</c:v>
                </c:pt>
                <c:pt idx="2296">
                  <c:v>24.1</c:v>
                </c:pt>
                <c:pt idx="2297">
                  <c:v>25.75</c:v>
                </c:pt>
                <c:pt idx="2298">
                  <c:v>23.27</c:v>
                </c:pt>
                <c:pt idx="2299">
                  <c:v>23.31</c:v>
                </c:pt>
                <c:pt idx="2300">
                  <c:v>24</c:v>
                </c:pt>
                <c:pt idx="2301">
                  <c:v>21.76</c:v>
                </c:pt>
                <c:pt idx="2302">
                  <c:v>21.94</c:v>
                </c:pt>
                <c:pt idx="2303">
                  <c:v>24.14</c:v>
                </c:pt>
                <c:pt idx="2304">
                  <c:v>24.04</c:v>
                </c:pt>
                <c:pt idx="2305">
                  <c:v>25.56</c:v>
                </c:pt>
                <c:pt idx="2306">
                  <c:v>26.02</c:v>
                </c:pt>
                <c:pt idx="2307">
                  <c:v>24.15</c:v>
                </c:pt>
                <c:pt idx="2308">
                  <c:v>22.13</c:v>
                </c:pt>
                <c:pt idx="2309">
                  <c:v>25.96</c:v>
                </c:pt>
                <c:pt idx="2310">
                  <c:v>26.02</c:v>
                </c:pt>
                <c:pt idx="2311">
                  <c:v>27.73</c:v>
                </c:pt>
                <c:pt idx="2312">
                  <c:v>23.38</c:v>
                </c:pt>
                <c:pt idx="2313">
                  <c:v>26.2</c:v>
                </c:pt>
                <c:pt idx="2314">
                  <c:v>24.68</c:v>
                </c:pt>
                <c:pt idx="2315">
                  <c:v>25.35</c:v>
                </c:pt>
                <c:pt idx="2316">
                  <c:v>29.78</c:v>
                </c:pt>
                <c:pt idx="2317">
                  <c:v>28.96</c:v>
                </c:pt>
                <c:pt idx="2318">
                  <c:v>29.79</c:v>
                </c:pt>
                <c:pt idx="2319">
                  <c:v>30.66</c:v>
                </c:pt>
                <c:pt idx="2320">
                  <c:v>30.83</c:v>
                </c:pt>
                <c:pt idx="2321">
                  <c:v>26.69</c:v>
                </c:pt>
                <c:pt idx="2322">
                  <c:v>26.42</c:v>
                </c:pt>
                <c:pt idx="2323">
                  <c:v>32.659999999999997</c:v>
                </c:pt>
                <c:pt idx="2324">
                  <c:v>32.090000000000003</c:v>
                </c:pt>
                <c:pt idx="2325">
                  <c:v>31.72</c:v>
                </c:pt>
                <c:pt idx="2326">
                  <c:v>30.95</c:v>
                </c:pt>
                <c:pt idx="2327">
                  <c:v>28.5</c:v>
                </c:pt>
                <c:pt idx="2328">
                  <c:v>23.48</c:v>
                </c:pt>
                <c:pt idx="2329">
                  <c:v>22.08</c:v>
                </c:pt>
                <c:pt idx="2330">
                  <c:v>27.64</c:v>
                </c:pt>
                <c:pt idx="2331">
                  <c:v>27.69</c:v>
                </c:pt>
                <c:pt idx="2332">
                  <c:v>26.36</c:v>
                </c:pt>
                <c:pt idx="2333">
                  <c:v>24.31</c:v>
                </c:pt>
                <c:pt idx="2334">
                  <c:v>24.63</c:v>
                </c:pt>
                <c:pt idx="2335">
                  <c:v>18.77</c:v>
                </c:pt>
                <c:pt idx="2336">
                  <c:v>17.559999999999999</c:v>
                </c:pt>
                <c:pt idx="2337">
                  <c:v>28.08</c:v>
                </c:pt>
                <c:pt idx="2338">
                  <c:v>25.88</c:v>
                </c:pt>
                <c:pt idx="2339">
                  <c:v>25.24</c:v>
                </c:pt>
                <c:pt idx="2340">
                  <c:v>20.86</c:v>
                </c:pt>
                <c:pt idx="2341">
                  <c:v>25.56</c:v>
                </c:pt>
                <c:pt idx="2342">
                  <c:v>18.64</c:v>
                </c:pt>
                <c:pt idx="2343">
                  <c:v>19.350000000000001</c:v>
                </c:pt>
                <c:pt idx="2344">
                  <c:v>28.42</c:v>
                </c:pt>
                <c:pt idx="2345">
                  <c:v>28.98</c:v>
                </c:pt>
                <c:pt idx="2346">
                  <c:v>28.31</c:v>
                </c:pt>
                <c:pt idx="2347">
                  <c:v>26.11</c:v>
                </c:pt>
                <c:pt idx="2348">
                  <c:v>24.6</c:v>
                </c:pt>
                <c:pt idx="2349">
                  <c:v>20.55</c:v>
                </c:pt>
                <c:pt idx="2350">
                  <c:v>18.87</c:v>
                </c:pt>
                <c:pt idx="2351">
                  <c:v>23.27</c:v>
                </c:pt>
                <c:pt idx="2352">
                  <c:v>25.68</c:v>
                </c:pt>
                <c:pt idx="2353">
                  <c:v>26.62</c:v>
                </c:pt>
                <c:pt idx="2354">
                  <c:v>26.63</c:v>
                </c:pt>
                <c:pt idx="2355">
                  <c:v>22.34</c:v>
                </c:pt>
                <c:pt idx="2356">
                  <c:v>18.72</c:v>
                </c:pt>
                <c:pt idx="2357">
                  <c:v>18.899999999999999</c:v>
                </c:pt>
                <c:pt idx="2358">
                  <c:v>25.44</c:v>
                </c:pt>
                <c:pt idx="2359">
                  <c:v>27.96</c:v>
                </c:pt>
                <c:pt idx="2360">
                  <c:v>26.85</c:v>
                </c:pt>
                <c:pt idx="2361">
                  <c:v>23.62</c:v>
                </c:pt>
                <c:pt idx="2362">
                  <c:v>22.17</c:v>
                </c:pt>
                <c:pt idx="2363">
                  <c:v>20.71</c:v>
                </c:pt>
                <c:pt idx="2364">
                  <c:v>20.190000000000001</c:v>
                </c:pt>
                <c:pt idx="2365">
                  <c:v>26.69</c:v>
                </c:pt>
                <c:pt idx="2366">
                  <c:v>30.25</c:v>
                </c:pt>
                <c:pt idx="2367">
                  <c:v>30.86</c:v>
                </c:pt>
                <c:pt idx="2368">
                  <c:v>30.7</c:v>
                </c:pt>
                <c:pt idx="2369">
                  <c:v>29.68</c:v>
                </c:pt>
                <c:pt idx="2370">
                  <c:v>27.13</c:v>
                </c:pt>
                <c:pt idx="2371">
                  <c:v>26.02</c:v>
                </c:pt>
                <c:pt idx="2372">
                  <c:v>30.11</c:v>
                </c:pt>
                <c:pt idx="2373">
                  <c:v>30.5</c:v>
                </c:pt>
                <c:pt idx="2374">
                  <c:v>29.63</c:v>
                </c:pt>
                <c:pt idx="2375">
                  <c:v>27.66</c:v>
                </c:pt>
                <c:pt idx="2376">
                  <c:v>27.94</c:v>
                </c:pt>
                <c:pt idx="2377">
                  <c:v>26.44</c:v>
                </c:pt>
                <c:pt idx="2378">
                  <c:v>24.78</c:v>
                </c:pt>
                <c:pt idx="2379">
                  <c:v>27.91</c:v>
                </c:pt>
                <c:pt idx="2380">
                  <c:v>27.18</c:v>
                </c:pt>
                <c:pt idx="2381">
                  <c:v>25.98</c:v>
                </c:pt>
                <c:pt idx="2382">
                  <c:v>27.47</c:v>
                </c:pt>
                <c:pt idx="2383">
                  <c:v>27.94</c:v>
                </c:pt>
                <c:pt idx="2384">
                  <c:v>26.79</c:v>
                </c:pt>
                <c:pt idx="2385">
                  <c:v>24.84</c:v>
                </c:pt>
                <c:pt idx="2386">
                  <c:v>27.44</c:v>
                </c:pt>
                <c:pt idx="2387">
                  <c:v>28.88</c:v>
                </c:pt>
                <c:pt idx="2388">
                  <c:v>29.3</c:v>
                </c:pt>
                <c:pt idx="2389">
                  <c:v>29.3</c:v>
                </c:pt>
                <c:pt idx="2390">
                  <c:v>28.94</c:v>
                </c:pt>
                <c:pt idx="2391">
                  <c:v>27.66</c:v>
                </c:pt>
                <c:pt idx="2392">
                  <c:v>24.87</c:v>
                </c:pt>
                <c:pt idx="2393">
                  <c:v>28.14</c:v>
                </c:pt>
                <c:pt idx="2394">
                  <c:v>29.23</c:v>
                </c:pt>
                <c:pt idx="2395">
                  <c:v>29.71</c:v>
                </c:pt>
                <c:pt idx="2396">
                  <c:v>29.51</c:v>
                </c:pt>
                <c:pt idx="2397">
                  <c:v>29.93</c:v>
                </c:pt>
                <c:pt idx="2398">
                  <c:v>30.39</c:v>
                </c:pt>
                <c:pt idx="2399">
                  <c:v>29.98</c:v>
                </c:pt>
                <c:pt idx="2400">
                  <c:v>31.68</c:v>
                </c:pt>
                <c:pt idx="2401">
                  <c:v>31.85</c:v>
                </c:pt>
                <c:pt idx="2402">
                  <c:v>31.33</c:v>
                </c:pt>
                <c:pt idx="2403">
                  <c:v>31.04</c:v>
                </c:pt>
                <c:pt idx="2404">
                  <c:v>31.03</c:v>
                </c:pt>
                <c:pt idx="2405">
                  <c:v>29.24</c:v>
                </c:pt>
                <c:pt idx="2406">
                  <c:v>29.51</c:v>
                </c:pt>
                <c:pt idx="2407">
                  <c:v>31.89</c:v>
                </c:pt>
                <c:pt idx="2408">
                  <c:v>32.21</c:v>
                </c:pt>
                <c:pt idx="2409">
                  <c:v>32.46</c:v>
                </c:pt>
                <c:pt idx="2410">
                  <c:v>32.659999999999997</c:v>
                </c:pt>
                <c:pt idx="2411">
                  <c:v>32.46</c:v>
                </c:pt>
                <c:pt idx="2412">
                  <c:v>29.06</c:v>
                </c:pt>
                <c:pt idx="2413">
                  <c:v>28.83</c:v>
                </c:pt>
                <c:pt idx="2414">
                  <c:v>29.73</c:v>
                </c:pt>
                <c:pt idx="2415">
                  <c:v>31.66</c:v>
                </c:pt>
                <c:pt idx="2416">
                  <c:v>32.61</c:v>
                </c:pt>
                <c:pt idx="2417">
                  <c:v>32.75</c:v>
                </c:pt>
                <c:pt idx="2418">
                  <c:v>32.869999999999997</c:v>
                </c:pt>
                <c:pt idx="2419">
                  <c:v>30.61</c:v>
                </c:pt>
                <c:pt idx="2420">
                  <c:v>29.73</c:v>
                </c:pt>
                <c:pt idx="2421">
                  <c:v>32.57</c:v>
                </c:pt>
                <c:pt idx="2422">
                  <c:v>33.119999999999997</c:v>
                </c:pt>
                <c:pt idx="2423">
                  <c:v>32.74</c:v>
                </c:pt>
                <c:pt idx="2424">
                  <c:v>33.090000000000003</c:v>
                </c:pt>
                <c:pt idx="2425">
                  <c:v>32.97</c:v>
                </c:pt>
                <c:pt idx="2426">
                  <c:v>30.76</c:v>
                </c:pt>
                <c:pt idx="2427">
                  <c:v>30.43</c:v>
                </c:pt>
                <c:pt idx="2428">
                  <c:v>33.840000000000003</c:v>
                </c:pt>
                <c:pt idx="2429">
                  <c:v>36.32</c:v>
                </c:pt>
                <c:pt idx="2430">
                  <c:v>35.229999999999997</c:v>
                </c:pt>
                <c:pt idx="2431">
                  <c:v>34.590000000000003</c:v>
                </c:pt>
                <c:pt idx="2432">
                  <c:v>33.840000000000003</c:v>
                </c:pt>
                <c:pt idx="2433">
                  <c:v>32.53</c:v>
                </c:pt>
                <c:pt idx="2434">
                  <c:v>32.869999999999997</c:v>
                </c:pt>
                <c:pt idx="2435">
                  <c:v>34.950000000000003</c:v>
                </c:pt>
                <c:pt idx="2436">
                  <c:v>35.659999999999997</c:v>
                </c:pt>
                <c:pt idx="2437">
                  <c:v>34.96</c:v>
                </c:pt>
                <c:pt idx="2438">
                  <c:v>34.46</c:v>
                </c:pt>
                <c:pt idx="2439">
                  <c:v>35.42</c:v>
                </c:pt>
                <c:pt idx="2440">
                  <c:v>33.76</c:v>
                </c:pt>
                <c:pt idx="2441">
                  <c:v>33.69</c:v>
                </c:pt>
                <c:pt idx="2442">
                  <c:v>34.71</c:v>
                </c:pt>
                <c:pt idx="2443">
                  <c:v>34.51</c:v>
                </c:pt>
                <c:pt idx="2444">
                  <c:v>34.74</c:v>
                </c:pt>
                <c:pt idx="2445">
                  <c:v>34.94</c:v>
                </c:pt>
                <c:pt idx="2446">
                  <c:v>34.61</c:v>
                </c:pt>
                <c:pt idx="2447">
                  <c:v>34.07</c:v>
                </c:pt>
                <c:pt idx="2448">
                  <c:v>33.69</c:v>
                </c:pt>
                <c:pt idx="2449">
                  <c:v>36.44</c:v>
                </c:pt>
                <c:pt idx="2450">
                  <c:v>37.57</c:v>
                </c:pt>
                <c:pt idx="2451">
                  <c:v>36.56</c:v>
                </c:pt>
                <c:pt idx="2452">
                  <c:v>36.71</c:v>
                </c:pt>
                <c:pt idx="2453">
                  <c:v>36.6</c:v>
                </c:pt>
                <c:pt idx="2454">
                  <c:v>35.090000000000003</c:v>
                </c:pt>
                <c:pt idx="2455">
                  <c:v>33.72</c:v>
                </c:pt>
                <c:pt idx="2456">
                  <c:v>34.25</c:v>
                </c:pt>
                <c:pt idx="2457">
                  <c:v>37.22</c:v>
                </c:pt>
                <c:pt idx="2458">
                  <c:v>36.450000000000003</c:v>
                </c:pt>
                <c:pt idx="2459">
                  <c:v>35.119999999999997</c:v>
                </c:pt>
                <c:pt idx="2460">
                  <c:v>33.619999999999997</c:v>
                </c:pt>
                <c:pt idx="2461">
                  <c:v>31.86</c:v>
                </c:pt>
                <c:pt idx="2462">
                  <c:v>32.33</c:v>
                </c:pt>
                <c:pt idx="2463">
                  <c:v>34.020000000000003</c:v>
                </c:pt>
                <c:pt idx="2464">
                  <c:v>35.58</c:v>
                </c:pt>
                <c:pt idx="2465">
                  <c:v>35.450000000000003</c:v>
                </c:pt>
                <c:pt idx="2466">
                  <c:v>35.450000000000003</c:v>
                </c:pt>
                <c:pt idx="2467">
                  <c:v>33.590000000000003</c:v>
                </c:pt>
                <c:pt idx="2468">
                  <c:v>32.01</c:v>
                </c:pt>
                <c:pt idx="2469">
                  <c:v>31.83</c:v>
                </c:pt>
                <c:pt idx="2470">
                  <c:v>32.369999999999997</c:v>
                </c:pt>
                <c:pt idx="2471">
                  <c:v>32.03</c:v>
                </c:pt>
                <c:pt idx="2472">
                  <c:v>32.4</c:v>
                </c:pt>
                <c:pt idx="2473">
                  <c:v>32.799999999999997</c:v>
                </c:pt>
                <c:pt idx="2474">
                  <c:v>32.29</c:v>
                </c:pt>
                <c:pt idx="2475">
                  <c:v>32.69</c:v>
                </c:pt>
                <c:pt idx="2476">
                  <c:v>32.409999999999997</c:v>
                </c:pt>
                <c:pt idx="2477">
                  <c:v>33.86</c:v>
                </c:pt>
                <c:pt idx="2478">
                  <c:v>34.21</c:v>
                </c:pt>
                <c:pt idx="2479">
                  <c:v>33.97</c:v>
                </c:pt>
                <c:pt idx="2480">
                  <c:v>34.19</c:v>
                </c:pt>
                <c:pt idx="2481">
                  <c:v>33.450000000000003</c:v>
                </c:pt>
                <c:pt idx="2482">
                  <c:v>31.52</c:v>
                </c:pt>
                <c:pt idx="2483">
                  <c:v>28.55</c:v>
                </c:pt>
                <c:pt idx="2484">
                  <c:v>28.66</c:v>
                </c:pt>
                <c:pt idx="2485">
                  <c:v>30.98</c:v>
                </c:pt>
                <c:pt idx="2486">
                  <c:v>30.73</c:v>
                </c:pt>
                <c:pt idx="2487">
                  <c:v>31.12</c:v>
                </c:pt>
                <c:pt idx="2488">
                  <c:v>28.27</c:v>
                </c:pt>
                <c:pt idx="2489">
                  <c:v>26.06</c:v>
                </c:pt>
                <c:pt idx="2490">
                  <c:v>21.21</c:v>
                </c:pt>
                <c:pt idx="2491">
                  <c:v>22.68</c:v>
                </c:pt>
                <c:pt idx="2492">
                  <c:v>21.39</c:v>
                </c:pt>
                <c:pt idx="2493">
                  <c:v>25.01</c:v>
                </c:pt>
                <c:pt idx="2494">
                  <c:v>28.77</c:v>
                </c:pt>
                <c:pt idx="2495">
                  <c:v>29.43</c:v>
                </c:pt>
                <c:pt idx="2496">
                  <c:v>23.18</c:v>
                </c:pt>
                <c:pt idx="2497">
                  <c:v>18.68</c:v>
                </c:pt>
                <c:pt idx="2498">
                  <c:v>22.08</c:v>
                </c:pt>
                <c:pt idx="2499">
                  <c:v>26.13</c:v>
                </c:pt>
                <c:pt idx="2500">
                  <c:v>30.03</c:v>
                </c:pt>
                <c:pt idx="2501">
                  <c:v>31</c:v>
                </c:pt>
                <c:pt idx="2502">
                  <c:v>30.56</c:v>
                </c:pt>
                <c:pt idx="2503">
                  <c:v>27.33</c:v>
                </c:pt>
                <c:pt idx="2504">
                  <c:v>25.72</c:v>
                </c:pt>
                <c:pt idx="2505">
                  <c:v>29.42</c:v>
                </c:pt>
                <c:pt idx="2506">
                  <c:v>30.14</c:v>
                </c:pt>
                <c:pt idx="2507">
                  <c:v>29.96</c:v>
                </c:pt>
                <c:pt idx="2508">
                  <c:v>31.13</c:v>
                </c:pt>
                <c:pt idx="2509">
                  <c:v>30.73</c:v>
                </c:pt>
                <c:pt idx="2510">
                  <c:v>28.87</c:v>
                </c:pt>
                <c:pt idx="2511">
                  <c:v>28.01</c:v>
                </c:pt>
                <c:pt idx="2512">
                  <c:v>30.89</c:v>
                </c:pt>
                <c:pt idx="2513">
                  <c:v>31.83</c:v>
                </c:pt>
                <c:pt idx="2514">
                  <c:v>33.35</c:v>
                </c:pt>
                <c:pt idx="2515">
                  <c:v>34.130000000000003</c:v>
                </c:pt>
                <c:pt idx="2516">
                  <c:v>34.36</c:v>
                </c:pt>
                <c:pt idx="2517">
                  <c:v>32.130000000000003</c:v>
                </c:pt>
                <c:pt idx="2518">
                  <c:v>30.2</c:v>
                </c:pt>
                <c:pt idx="2519">
                  <c:v>30.56</c:v>
                </c:pt>
                <c:pt idx="2520">
                  <c:v>33.229999999999997</c:v>
                </c:pt>
                <c:pt idx="2521">
                  <c:v>33.729999999999997</c:v>
                </c:pt>
                <c:pt idx="2522">
                  <c:v>32.880000000000003</c:v>
                </c:pt>
                <c:pt idx="2523">
                  <c:v>32.18</c:v>
                </c:pt>
                <c:pt idx="2524">
                  <c:v>31.71</c:v>
                </c:pt>
                <c:pt idx="2525">
                  <c:v>31.88</c:v>
                </c:pt>
                <c:pt idx="2526">
                  <c:v>32.950000000000003</c:v>
                </c:pt>
                <c:pt idx="2527">
                  <c:v>33.880000000000003</c:v>
                </c:pt>
                <c:pt idx="2528">
                  <c:v>34.29</c:v>
                </c:pt>
                <c:pt idx="2529">
                  <c:v>35.36</c:v>
                </c:pt>
                <c:pt idx="2530">
                  <c:v>33.26</c:v>
                </c:pt>
                <c:pt idx="2531">
                  <c:v>32</c:v>
                </c:pt>
                <c:pt idx="2532">
                  <c:v>30.36</c:v>
                </c:pt>
                <c:pt idx="2533">
                  <c:v>32.33</c:v>
                </c:pt>
                <c:pt idx="2534">
                  <c:v>33.299999999999997</c:v>
                </c:pt>
                <c:pt idx="2535">
                  <c:v>30.34</c:v>
                </c:pt>
                <c:pt idx="2536">
                  <c:v>30.53</c:v>
                </c:pt>
                <c:pt idx="2537">
                  <c:v>30.99</c:v>
                </c:pt>
                <c:pt idx="2538">
                  <c:v>30.59</c:v>
                </c:pt>
                <c:pt idx="2539">
                  <c:v>30.39</c:v>
                </c:pt>
                <c:pt idx="2540">
                  <c:v>30.43</c:v>
                </c:pt>
                <c:pt idx="2541">
                  <c:v>31.44</c:v>
                </c:pt>
                <c:pt idx="2542">
                  <c:v>32.22</c:v>
                </c:pt>
                <c:pt idx="2543">
                  <c:v>31.44</c:v>
                </c:pt>
                <c:pt idx="2544">
                  <c:v>30.31</c:v>
                </c:pt>
                <c:pt idx="2545">
                  <c:v>28.99</c:v>
                </c:pt>
                <c:pt idx="2546">
                  <c:v>29.43</c:v>
                </c:pt>
                <c:pt idx="2547">
                  <c:v>29.24</c:v>
                </c:pt>
                <c:pt idx="2548">
                  <c:v>29.49</c:v>
                </c:pt>
                <c:pt idx="2549">
                  <c:v>29.45</c:v>
                </c:pt>
                <c:pt idx="2550">
                  <c:v>29.92</c:v>
                </c:pt>
                <c:pt idx="2551">
                  <c:v>31.08</c:v>
                </c:pt>
                <c:pt idx="2552">
                  <c:v>31.48</c:v>
                </c:pt>
                <c:pt idx="2553">
                  <c:v>32.94</c:v>
                </c:pt>
                <c:pt idx="2554">
                  <c:v>42.91</c:v>
                </c:pt>
                <c:pt idx="2555">
                  <c:v>31.35</c:v>
                </c:pt>
                <c:pt idx="2556">
                  <c:v>29.09</c:v>
                </c:pt>
                <c:pt idx="2557">
                  <c:v>26.99</c:v>
                </c:pt>
                <c:pt idx="2558">
                  <c:v>26.45</c:v>
                </c:pt>
                <c:pt idx="2559">
                  <c:v>26.81</c:v>
                </c:pt>
                <c:pt idx="2560">
                  <c:v>28.12</c:v>
                </c:pt>
                <c:pt idx="2561">
                  <c:v>36.549999999999997</c:v>
                </c:pt>
                <c:pt idx="2562">
                  <c:v>29.72</c:v>
                </c:pt>
                <c:pt idx="2563">
                  <c:v>30.55</c:v>
                </c:pt>
                <c:pt idx="2564">
                  <c:v>28.16</c:v>
                </c:pt>
                <c:pt idx="2565">
                  <c:v>27.79</c:v>
                </c:pt>
                <c:pt idx="2566">
                  <c:v>26.48</c:v>
                </c:pt>
                <c:pt idx="2567">
                  <c:v>25.82</c:v>
                </c:pt>
                <c:pt idx="2568">
                  <c:v>29.3</c:v>
                </c:pt>
                <c:pt idx="2569">
                  <c:v>29.67</c:v>
                </c:pt>
                <c:pt idx="2570">
                  <c:v>29.69</c:v>
                </c:pt>
                <c:pt idx="2571">
                  <c:v>28.09</c:v>
                </c:pt>
                <c:pt idx="2572">
                  <c:v>27.97</c:v>
                </c:pt>
                <c:pt idx="2573">
                  <c:v>28.09</c:v>
                </c:pt>
                <c:pt idx="2574">
                  <c:v>28.15</c:v>
                </c:pt>
                <c:pt idx="2575">
                  <c:v>34.36</c:v>
                </c:pt>
                <c:pt idx="2576">
                  <c:v>35.54</c:v>
                </c:pt>
                <c:pt idx="2577">
                  <c:v>38.880000000000003</c:v>
                </c:pt>
                <c:pt idx="2578">
                  <c:v>39.729999999999997</c:v>
                </c:pt>
                <c:pt idx="2579">
                  <c:v>39.56</c:v>
                </c:pt>
                <c:pt idx="2580">
                  <c:v>28.43</c:v>
                </c:pt>
                <c:pt idx="2581">
                  <c:v>28.7</c:v>
                </c:pt>
                <c:pt idx="2582">
                  <c:v>29.15</c:v>
                </c:pt>
                <c:pt idx="2583">
                  <c:v>29.73</c:v>
                </c:pt>
                <c:pt idx="2584">
                  <c:v>27.81</c:v>
                </c:pt>
                <c:pt idx="2585">
                  <c:v>27.74</c:v>
                </c:pt>
                <c:pt idx="2586">
                  <c:v>30.44</c:v>
                </c:pt>
                <c:pt idx="2587">
                  <c:v>28.05</c:v>
                </c:pt>
                <c:pt idx="2588">
                  <c:v>27.83</c:v>
                </c:pt>
                <c:pt idx="2589">
                  <c:v>32.950000000000003</c:v>
                </c:pt>
                <c:pt idx="2590">
                  <c:v>37.28</c:v>
                </c:pt>
                <c:pt idx="2591">
                  <c:v>43.21</c:v>
                </c:pt>
                <c:pt idx="2592">
                  <c:v>36.479999999999997</c:v>
                </c:pt>
                <c:pt idx="2593">
                  <c:v>30.94</c:v>
                </c:pt>
                <c:pt idx="2594">
                  <c:v>26.75</c:v>
                </c:pt>
                <c:pt idx="2595">
                  <c:v>26.78</c:v>
                </c:pt>
                <c:pt idx="2596">
                  <c:v>28.44</c:v>
                </c:pt>
                <c:pt idx="2597">
                  <c:v>28.53</c:v>
                </c:pt>
                <c:pt idx="2598">
                  <c:v>32.200000000000003</c:v>
                </c:pt>
                <c:pt idx="2599">
                  <c:v>32.78</c:v>
                </c:pt>
                <c:pt idx="2600">
                  <c:v>31.37</c:v>
                </c:pt>
                <c:pt idx="2601">
                  <c:v>27.51</c:v>
                </c:pt>
                <c:pt idx="2602">
                  <c:v>26.45</c:v>
                </c:pt>
                <c:pt idx="2603">
                  <c:v>27.9</c:v>
                </c:pt>
                <c:pt idx="2604">
                  <c:v>29.32</c:v>
                </c:pt>
                <c:pt idx="2605">
                  <c:v>27.36</c:v>
                </c:pt>
                <c:pt idx="2606">
                  <c:v>26.13</c:v>
                </c:pt>
                <c:pt idx="2607">
                  <c:v>25.83</c:v>
                </c:pt>
                <c:pt idx="2608">
                  <c:v>25.92</c:v>
                </c:pt>
                <c:pt idx="2609">
                  <c:v>25.62</c:v>
                </c:pt>
                <c:pt idx="2610">
                  <c:v>25.68</c:v>
                </c:pt>
                <c:pt idx="2611">
                  <c:v>26.04</c:v>
                </c:pt>
                <c:pt idx="2612">
                  <c:v>26.68</c:v>
                </c:pt>
                <c:pt idx="2613">
                  <c:v>26.33</c:v>
                </c:pt>
                <c:pt idx="2614">
                  <c:v>25.76</c:v>
                </c:pt>
                <c:pt idx="2615">
                  <c:v>25.3</c:v>
                </c:pt>
                <c:pt idx="2616">
                  <c:v>22.82</c:v>
                </c:pt>
                <c:pt idx="2617">
                  <c:v>25.32</c:v>
                </c:pt>
                <c:pt idx="2618">
                  <c:v>25.76</c:v>
                </c:pt>
                <c:pt idx="2619">
                  <c:v>26.62</c:v>
                </c:pt>
                <c:pt idx="2620">
                  <c:v>28.67</c:v>
                </c:pt>
                <c:pt idx="2621">
                  <c:v>26.37</c:v>
                </c:pt>
                <c:pt idx="2622">
                  <c:v>22.59</c:v>
                </c:pt>
                <c:pt idx="2623">
                  <c:v>21.32</c:v>
                </c:pt>
                <c:pt idx="2624">
                  <c:v>25.35</c:v>
                </c:pt>
                <c:pt idx="2625">
                  <c:v>24.56</c:v>
                </c:pt>
                <c:pt idx="2626">
                  <c:v>26.08</c:v>
                </c:pt>
                <c:pt idx="2627">
                  <c:v>27.36</c:v>
                </c:pt>
                <c:pt idx="2628">
                  <c:v>25.75</c:v>
                </c:pt>
                <c:pt idx="2629">
                  <c:v>24.33</c:v>
                </c:pt>
                <c:pt idx="2630">
                  <c:v>24.13</c:v>
                </c:pt>
                <c:pt idx="2631">
                  <c:v>24.65</c:v>
                </c:pt>
                <c:pt idx="2632">
                  <c:v>25.26</c:v>
                </c:pt>
                <c:pt idx="2633">
                  <c:v>26.66</c:v>
                </c:pt>
                <c:pt idx="2634">
                  <c:v>26.42</c:v>
                </c:pt>
                <c:pt idx="2635">
                  <c:v>26.44</c:v>
                </c:pt>
                <c:pt idx="2636">
                  <c:v>24.22</c:v>
                </c:pt>
                <c:pt idx="2637">
                  <c:v>24.33</c:v>
                </c:pt>
                <c:pt idx="2638">
                  <c:v>25.03</c:v>
                </c:pt>
                <c:pt idx="2639">
                  <c:v>28.26</c:v>
                </c:pt>
                <c:pt idx="2640">
                  <c:v>27.53</c:v>
                </c:pt>
                <c:pt idx="2641">
                  <c:v>25.92</c:v>
                </c:pt>
                <c:pt idx="2642">
                  <c:v>26.7</c:v>
                </c:pt>
                <c:pt idx="2643">
                  <c:v>24.41</c:v>
                </c:pt>
                <c:pt idx="2644">
                  <c:v>23.19</c:v>
                </c:pt>
                <c:pt idx="2645">
                  <c:v>24.52</c:v>
                </c:pt>
                <c:pt idx="2646">
                  <c:v>24.93</c:v>
                </c:pt>
                <c:pt idx="2647">
                  <c:v>25.06</c:v>
                </c:pt>
                <c:pt idx="2648">
                  <c:v>25.13</c:v>
                </c:pt>
                <c:pt idx="2649">
                  <c:v>24.73</c:v>
                </c:pt>
                <c:pt idx="2650">
                  <c:v>25.57</c:v>
                </c:pt>
                <c:pt idx="2651">
                  <c:v>25.23</c:v>
                </c:pt>
                <c:pt idx="2652">
                  <c:v>25.4</c:v>
                </c:pt>
                <c:pt idx="2653">
                  <c:v>26.07</c:v>
                </c:pt>
                <c:pt idx="2654">
                  <c:v>25.75</c:v>
                </c:pt>
                <c:pt idx="2655">
                  <c:v>26.7</c:v>
                </c:pt>
                <c:pt idx="2656">
                  <c:v>26.36</c:v>
                </c:pt>
                <c:pt idx="2657">
                  <c:v>24.66</c:v>
                </c:pt>
                <c:pt idx="2658">
                  <c:v>21.86</c:v>
                </c:pt>
                <c:pt idx="2659">
                  <c:v>24.02</c:v>
                </c:pt>
                <c:pt idx="2660">
                  <c:v>26.42</c:v>
                </c:pt>
                <c:pt idx="2661">
                  <c:v>25.76</c:v>
                </c:pt>
                <c:pt idx="2662">
                  <c:v>25.49</c:v>
                </c:pt>
                <c:pt idx="2663">
                  <c:v>25.98</c:v>
                </c:pt>
                <c:pt idx="2664">
                  <c:v>24.2</c:v>
                </c:pt>
                <c:pt idx="2665">
                  <c:v>23.62</c:v>
                </c:pt>
                <c:pt idx="2666">
                  <c:v>25.87</c:v>
                </c:pt>
                <c:pt idx="2667">
                  <c:v>24.99</c:v>
                </c:pt>
                <c:pt idx="2668">
                  <c:v>24.56</c:v>
                </c:pt>
                <c:pt idx="2669">
                  <c:v>22.28</c:v>
                </c:pt>
                <c:pt idx="2670">
                  <c:v>24.93</c:v>
                </c:pt>
                <c:pt idx="2671">
                  <c:v>23.15</c:v>
                </c:pt>
                <c:pt idx="2672">
                  <c:v>22.57</c:v>
                </c:pt>
                <c:pt idx="2673">
                  <c:v>29.66</c:v>
                </c:pt>
                <c:pt idx="2674">
                  <c:v>29.29</c:v>
                </c:pt>
                <c:pt idx="2675">
                  <c:v>26.5</c:v>
                </c:pt>
                <c:pt idx="2676">
                  <c:v>27.34</c:v>
                </c:pt>
                <c:pt idx="2677">
                  <c:v>24.75</c:v>
                </c:pt>
                <c:pt idx="2678">
                  <c:v>24.14</c:v>
                </c:pt>
                <c:pt idx="2679">
                  <c:v>23.91</c:v>
                </c:pt>
                <c:pt idx="2680">
                  <c:v>27.27</c:v>
                </c:pt>
                <c:pt idx="2681">
                  <c:v>25.76</c:v>
                </c:pt>
                <c:pt idx="2682">
                  <c:v>24.32</c:v>
                </c:pt>
                <c:pt idx="2683">
                  <c:v>23.41</c:v>
                </c:pt>
                <c:pt idx="2684">
                  <c:v>24.51</c:v>
                </c:pt>
                <c:pt idx="2685">
                  <c:v>20.12</c:v>
                </c:pt>
                <c:pt idx="2686">
                  <c:v>18.809999999999999</c:v>
                </c:pt>
                <c:pt idx="2687">
                  <c:v>23.13</c:v>
                </c:pt>
                <c:pt idx="2688">
                  <c:v>23.24</c:v>
                </c:pt>
                <c:pt idx="2689">
                  <c:v>20.59</c:v>
                </c:pt>
                <c:pt idx="2690">
                  <c:v>18.88</c:v>
                </c:pt>
                <c:pt idx="2691">
                  <c:v>21.97</c:v>
                </c:pt>
                <c:pt idx="2692">
                  <c:v>20</c:v>
                </c:pt>
                <c:pt idx="2693">
                  <c:v>14.14</c:v>
                </c:pt>
                <c:pt idx="2694">
                  <c:v>26.3</c:v>
                </c:pt>
                <c:pt idx="2695">
                  <c:v>25.09</c:v>
                </c:pt>
                <c:pt idx="2696">
                  <c:v>28.09</c:v>
                </c:pt>
                <c:pt idx="2697">
                  <c:v>28.98</c:v>
                </c:pt>
                <c:pt idx="2698">
                  <c:v>23.09</c:v>
                </c:pt>
                <c:pt idx="2699">
                  <c:v>18.23</c:v>
                </c:pt>
                <c:pt idx="2700">
                  <c:v>19.78</c:v>
                </c:pt>
                <c:pt idx="2701">
                  <c:v>22.27</c:v>
                </c:pt>
                <c:pt idx="2702">
                  <c:v>24.46</c:v>
                </c:pt>
                <c:pt idx="2703">
                  <c:v>22.68</c:v>
                </c:pt>
                <c:pt idx="2704">
                  <c:v>22.88</c:v>
                </c:pt>
                <c:pt idx="2705">
                  <c:v>21.19</c:v>
                </c:pt>
                <c:pt idx="2706">
                  <c:v>16.77</c:v>
                </c:pt>
                <c:pt idx="2707">
                  <c:v>13.51</c:v>
                </c:pt>
                <c:pt idx="2708">
                  <c:v>19.47</c:v>
                </c:pt>
                <c:pt idx="2709">
                  <c:v>16.47</c:v>
                </c:pt>
                <c:pt idx="2710">
                  <c:v>15.77</c:v>
                </c:pt>
                <c:pt idx="2711">
                  <c:v>18.75</c:v>
                </c:pt>
                <c:pt idx="2712">
                  <c:v>17.170000000000002</c:v>
                </c:pt>
                <c:pt idx="2713">
                  <c:v>10.09</c:v>
                </c:pt>
                <c:pt idx="2714">
                  <c:v>8.39</c:v>
                </c:pt>
                <c:pt idx="2715">
                  <c:v>17.670000000000002</c:v>
                </c:pt>
                <c:pt idx="2716">
                  <c:v>18.55</c:v>
                </c:pt>
                <c:pt idx="2717">
                  <c:v>17.22</c:v>
                </c:pt>
                <c:pt idx="2718">
                  <c:v>16.47</c:v>
                </c:pt>
                <c:pt idx="2719">
                  <c:v>15.08</c:v>
                </c:pt>
                <c:pt idx="2720">
                  <c:v>9.94</c:v>
                </c:pt>
                <c:pt idx="2721">
                  <c:v>8.01</c:v>
                </c:pt>
                <c:pt idx="2722">
                  <c:v>12.7</c:v>
                </c:pt>
                <c:pt idx="2723">
                  <c:v>14.45</c:v>
                </c:pt>
                <c:pt idx="2724">
                  <c:v>14.4</c:v>
                </c:pt>
                <c:pt idx="2725">
                  <c:v>11.1</c:v>
                </c:pt>
                <c:pt idx="2726">
                  <c:v>10.54</c:v>
                </c:pt>
                <c:pt idx="2727">
                  <c:v>9.31</c:v>
                </c:pt>
                <c:pt idx="2728">
                  <c:v>11.42</c:v>
                </c:pt>
                <c:pt idx="2729">
                  <c:v>17.27</c:v>
                </c:pt>
                <c:pt idx="2730">
                  <c:v>16.309999999999999</c:v>
                </c:pt>
                <c:pt idx="2731">
                  <c:v>11.83</c:v>
                </c:pt>
                <c:pt idx="2732">
                  <c:v>13.17</c:v>
                </c:pt>
                <c:pt idx="2733">
                  <c:v>17.260000000000002</c:v>
                </c:pt>
                <c:pt idx="2734">
                  <c:v>15.33</c:v>
                </c:pt>
                <c:pt idx="2735">
                  <c:v>15.12</c:v>
                </c:pt>
                <c:pt idx="2736">
                  <c:v>17.149999999999999</c:v>
                </c:pt>
                <c:pt idx="2737">
                  <c:v>16.57</c:v>
                </c:pt>
                <c:pt idx="2738">
                  <c:v>15.94</c:v>
                </c:pt>
                <c:pt idx="2739">
                  <c:v>11.74</c:v>
                </c:pt>
                <c:pt idx="2740">
                  <c:v>11.14</c:v>
                </c:pt>
                <c:pt idx="2741">
                  <c:v>9.91</c:v>
                </c:pt>
                <c:pt idx="2742">
                  <c:v>11.27</c:v>
                </c:pt>
                <c:pt idx="2743">
                  <c:v>11.03</c:v>
                </c:pt>
                <c:pt idx="2744">
                  <c:v>10.79</c:v>
                </c:pt>
                <c:pt idx="2745">
                  <c:v>8.83</c:v>
                </c:pt>
                <c:pt idx="2746">
                  <c:v>6.23</c:v>
                </c:pt>
                <c:pt idx="2747">
                  <c:v>6.3</c:v>
                </c:pt>
                <c:pt idx="2748">
                  <c:v>9.06</c:v>
                </c:pt>
                <c:pt idx="2749">
                  <c:v>8.43</c:v>
                </c:pt>
                <c:pt idx="2750">
                  <c:v>11.51</c:v>
                </c:pt>
                <c:pt idx="2751">
                  <c:v>12.12</c:v>
                </c:pt>
                <c:pt idx="2752">
                  <c:v>10.23</c:v>
                </c:pt>
                <c:pt idx="2753">
                  <c:v>12.33</c:v>
                </c:pt>
                <c:pt idx="2754">
                  <c:v>10.37</c:v>
                </c:pt>
                <c:pt idx="2755">
                  <c:v>6.95</c:v>
                </c:pt>
                <c:pt idx="2756">
                  <c:v>9.23</c:v>
                </c:pt>
                <c:pt idx="2757">
                  <c:v>10.58</c:v>
                </c:pt>
                <c:pt idx="2758">
                  <c:v>9.31</c:v>
                </c:pt>
                <c:pt idx="2759">
                  <c:v>10.29</c:v>
                </c:pt>
                <c:pt idx="2760">
                  <c:v>9.73</c:v>
                </c:pt>
                <c:pt idx="2761">
                  <c:v>10.28</c:v>
                </c:pt>
                <c:pt idx="2762">
                  <c:v>7.08</c:v>
                </c:pt>
                <c:pt idx="2763">
                  <c:v>3.88</c:v>
                </c:pt>
                <c:pt idx="2764">
                  <c:v>9.66</c:v>
                </c:pt>
                <c:pt idx="2765">
                  <c:v>9.8800000000000008</c:v>
                </c:pt>
                <c:pt idx="2766">
                  <c:v>7.98</c:v>
                </c:pt>
                <c:pt idx="2767">
                  <c:v>7.48</c:v>
                </c:pt>
                <c:pt idx="2768">
                  <c:v>6.43</c:v>
                </c:pt>
                <c:pt idx="2769">
                  <c:v>6.71</c:v>
                </c:pt>
                <c:pt idx="2770">
                  <c:v>7.52</c:v>
                </c:pt>
                <c:pt idx="2771">
                  <c:v>9.25</c:v>
                </c:pt>
                <c:pt idx="2772">
                  <c:v>8.57</c:v>
                </c:pt>
                <c:pt idx="2773">
                  <c:v>9</c:v>
                </c:pt>
                <c:pt idx="2774">
                  <c:v>8.65</c:v>
                </c:pt>
                <c:pt idx="2775">
                  <c:v>8.3000000000000007</c:v>
                </c:pt>
                <c:pt idx="2776">
                  <c:v>6.34</c:v>
                </c:pt>
                <c:pt idx="2777">
                  <c:v>7.84</c:v>
                </c:pt>
                <c:pt idx="2778">
                  <c:v>11.66</c:v>
                </c:pt>
                <c:pt idx="2779">
                  <c:v>10.46</c:v>
                </c:pt>
                <c:pt idx="2780">
                  <c:v>11.66</c:v>
                </c:pt>
                <c:pt idx="2781">
                  <c:v>12.65</c:v>
                </c:pt>
                <c:pt idx="2782">
                  <c:v>10.82</c:v>
                </c:pt>
                <c:pt idx="2783">
                  <c:v>10.96</c:v>
                </c:pt>
                <c:pt idx="2784">
                  <c:v>11.13</c:v>
                </c:pt>
                <c:pt idx="2785">
                  <c:v>11.88</c:v>
                </c:pt>
                <c:pt idx="2786">
                  <c:v>12.86</c:v>
                </c:pt>
                <c:pt idx="2787">
                  <c:v>17.73</c:v>
                </c:pt>
                <c:pt idx="2788">
                  <c:v>21.41</c:v>
                </c:pt>
                <c:pt idx="2789">
                  <c:v>19.93</c:v>
                </c:pt>
                <c:pt idx="2790">
                  <c:v>17.440000000000001</c:v>
                </c:pt>
                <c:pt idx="2791">
                  <c:v>16.079999999999998</c:v>
                </c:pt>
                <c:pt idx="2792">
                  <c:v>19.95</c:v>
                </c:pt>
                <c:pt idx="2793">
                  <c:v>18.18</c:v>
                </c:pt>
                <c:pt idx="2794">
                  <c:v>18.309999999999999</c:v>
                </c:pt>
                <c:pt idx="2795">
                  <c:v>16.03</c:v>
                </c:pt>
                <c:pt idx="2796">
                  <c:v>16.13</c:v>
                </c:pt>
                <c:pt idx="2797">
                  <c:v>13.92</c:v>
                </c:pt>
                <c:pt idx="2798">
                  <c:v>15.26</c:v>
                </c:pt>
                <c:pt idx="2799">
                  <c:v>18.05</c:v>
                </c:pt>
                <c:pt idx="2800">
                  <c:v>16.46</c:v>
                </c:pt>
                <c:pt idx="2801">
                  <c:v>16.100000000000001</c:v>
                </c:pt>
                <c:pt idx="2802">
                  <c:v>17.75</c:v>
                </c:pt>
                <c:pt idx="2803">
                  <c:v>19.34</c:v>
                </c:pt>
                <c:pt idx="2804">
                  <c:v>15.18</c:v>
                </c:pt>
                <c:pt idx="2805">
                  <c:v>11.05</c:v>
                </c:pt>
                <c:pt idx="2806">
                  <c:v>20.62</c:v>
                </c:pt>
                <c:pt idx="2807">
                  <c:v>21.49</c:v>
                </c:pt>
                <c:pt idx="2808">
                  <c:v>21.57</c:v>
                </c:pt>
                <c:pt idx="2809">
                  <c:v>21.83</c:v>
                </c:pt>
                <c:pt idx="2810">
                  <c:v>20.13</c:v>
                </c:pt>
                <c:pt idx="2811">
                  <c:v>16.37</c:v>
                </c:pt>
                <c:pt idx="2812">
                  <c:v>17.05</c:v>
                </c:pt>
                <c:pt idx="2813">
                  <c:v>19.25</c:v>
                </c:pt>
                <c:pt idx="2814">
                  <c:v>18.600000000000001</c:v>
                </c:pt>
                <c:pt idx="2815">
                  <c:v>20.329999999999998</c:v>
                </c:pt>
                <c:pt idx="2816">
                  <c:v>18.75</c:v>
                </c:pt>
                <c:pt idx="2817">
                  <c:v>14.67</c:v>
                </c:pt>
                <c:pt idx="2818">
                  <c:v>13.21</c:v>
                </c:pt>
                <c:pt idx="2819">
                  <c:v>14.9</c:v>
                </c:pt>
                <c:pt idx="2820">
                  <c:v>20.88</c:v>
                </c:pt>
                <c:pt idx="2821">
                  <c:v>18.53</c:v>
                </c:pt>
                <c:pt idx="2822">
                  <c:v>18.920000000000002</c:v>
                </c:pt>
                <c:pt idx="2823">
                  <c:v>16.71</c:v>
                </c:pt>
                <c:pt idx="2824">
                  <c:v>15.26</c:v>
                </c:pt>
                <c:pt idx="2825">
                  <c:v>14.58</c:v>
                </c:pt>
                <c:pt idx="2826">
                  <c:v>14.69</c:v>
                </c:pt>
                <c:pt idx="2827">
                  <c:v>17.72</c:v>
                </c:pt>
                <c:pt idx="2828">
                  <c:v>16.489999999999998</c:v>
                </c:pt>
                <c:pt idx="2829">
                  <c:v>15.16</c:v>
                </c:pt>
                <c:pt idx="2830">
                  <c:v>13.54</c:v>
                </c:pt>
                <c:pt idx="2831">
                  <c:v>11.75</c:v>
                </c:pt>
                <c:pt idx="2832">
                  <c:v>12.72</c:v>
                </c:pt>
                <c:pt idx="2833">
                  <c:v>13.61</c:v>
                </c:pt>
                <c:pt idx="2834">
                  <c:v>16.18</c:v>
                </c:pt>
                <c:pt idx="2835">
                  <c:v>13.84</c:v>
                </c:pt>
                <c:pt idx="2836">
                  <c:v>15.61</c:v>
                </c:pt>
                <c:pt idx="2837">
                  <c:v>19.739999999999998</c:v>
                </c:pt>
                <c:pt idx="2838">
                  <c:v>21.78</c:v>
                </c:pt>
                <c:pt idx="2839">
                  <c:v>20.79</c:v>
                </c:pt>
                <c:pt idx="2840">
                  <c:v>20.21</c:v>
                </c:pt>
                <c:pt idx="2841">
                  <c:v>23.08</c:v>
                </c:pt>
                <c:pt idx="2842">
                  <c:v>22.89</c:v>
                </c:pt>
                <c:pt idx="2843">
                  <c:v>23.27</c:v>
                </c:pt>
                <c:pt idx="2844">
                  <c:v>23.59</c:v>
                </c:pt>
                <c:pt idx="2845">
                  <c:v>23.92</c:v>
                </c:pt>
                <c:pt idx="2846">
                  <c:v>23.34</c:v>
                </c:pt>
                <c:pt idx="2847">
                  <c:v>23.77</c:v>
                </c:pt>
                <c:pt idx="2848">
                  <c:v>30.57</c:v>
                </c:pt>
                <c:pt idx="2849">
                  <c:v>30.47</c:v>
                </c:pt>
                <c:pt idx="2850">
                  <c:v>25.11</c:v>
                </c:pt>
                <c:pt idx="2851">
                  <c:v>23.85</c:v>
                </c:pt>
                <c:pt idx="2852">
                  <c:v>23.89</c:v>
                </c:pt>
                <c:pt idx="2853">
                  <c:v>23.84</c:v>
                </c:pt>
                <c:pt idx="2854">
                  <c:v>23.09</c:v>
                </c:pt>
                <c:pt idx="2855">
                  <c:v>26.66</c:v>
                </c:pt>
                <c:pt idx="2856">
                  <c:v>26.86</c:v>
                </c:pt>
                <c:pt idx="2857">
                  <c:v>26.66</c:v>
                </c:pt>
                <c:pt idx="2858">
                  <c:v>29.37</c:v>
                </c:pt>
                <c:pt idx="2859">
                  <c:v>27.29</c:v>
                </c:pt>
                <c:pt idx="2860">
                  <c:v>24.84</c:v>
                </c:pt>
                <c:pt idx="2861">
                  <c:v>24.52</c:v>
                </c:pt>
                <c:pt idx="2862">
                  <c:v>25.41</c:v>
                </c:pt>
                <c:pt idx="2863">
                  <c:v>25.91</c:v>
                </c:pt>
                <c:pt idx="2864">
                  <c:v>25.83</c:v>
                </c:pt>
                <c:pt idx="2865">
                  <c:v>26.06</c:v>
                </c:pt>
                <c:pt idx="2866">
                  <c:v>25.74</c:v>
                </c:pt>
                <c:pt idx="2867">
                  <c:v>23.15</c:v>
                </c:pt>
                <c:pt idx="2868">
                  <c:v>22.44</c:v>
                </c:pt>
                <c:pt idx="2869">
                  <c:v>22.91</c:v>
                </c:pt>
                <c:pt idx="2870">
                  <c:v>22.71</c:v>
                </c:pt>
                <c:pt idx="2871">
                  <c:v>24.23</c:v>
                </c:pt>
                <c:pt idx="2872">
                  <c:v>24.28</c:v>
                </c:pt>
                <c:pt idx="2873">
                  <c:v>23.28</c:v>
                </c:pt>
                <c:pt idx="2874">
                  <c:v>20.67</c:v>
                </c:pt>
                <c:pt idx="2875">
                  <c:v>22.65</c:v>
                </c:pt>
                <c:pt idx="2876">
                  <c:v>23.92</c:v>
                </c:pt>
                <c:pt idx="2877">
                  <c:v>24.76</c:v>
                </c:pt>
                <c:pt idx="2878">
                  <c:v>24.34</c:v>
                </c:pt>
                <c:pt idx="2879">
                  <c:v>24.83</c:v>
                </c:pt>
                <c:pt idx="2880">
                  <c:v>27.5</c:v>
                </c:pt>
                <c:pt idx="2881">
                  <c:v>24.91</c:v>
                </c:pt>
                <c:pt idx="2882">
                  <c:v>24.36</c:v>
                </c:pt>
                <c:pt idx="2883">
                  <c:v>41.14</c:v>
                </c:pt>
                <c:pt idx="2884">
                  <c:v>25.72</c:v>
                </c:pt>
                <c:pt idx="2885">
                  <c:v>31</c:v>
                </c:pt>
                <c:pt idx="2886">
                  <c:v>28.24</c:v>
                </c:pt>
                <c:pt idx="2887">
                  <c:v>22.72</c:v>
                </c:pt>
                <c:pt idx="2888">
                  <c:v>20.68</c:v>
                </c:pt>
                <c:pt idx="2889">
                  <c:v>19.59</c:v>
                </c:pt>
                <c:pt idx="2890">
                  <c:v>22.73</c:v>
                </c:pt>
                <c:pt idx="2891">
                  <c:v>23.83</c:v>
                </c:pt>
                <c:pt idx="2892">
                  <c:v>25.32</c:v>
                </c:pt>
                <c:pt idx="2893">
                  <c:v>24.6</c:v>
                </c:pt>
                <c:pt idx="2894">
                  <c:v>20.71</c:v>
                </c:pt>
                <c:pt idx="2895">
                  <c:v>16.059999999999999</c:v>
                </c:pt>
                <c:pt idx="2896">
                  <c:v>12.78</c:v>
                </c:pt>
                <c:pt idx="2897">
                  <c:v>21.14</c:v>
                </c:pt>
                <c:pt idx="2898">
                  <c:v>21.86</c:v>
                </c:pt>
                <c:pt idx="2899">
                  <c:v>19.68</c:v>
                </c:pt>
                <c:pt idx="2900">
                  <c:v>18.62</c:v>
                </c:pt>
                <c:pt idx="2901">
                  <c:v>20.079999999999998</c:v>
                </c:pt>
                <c:pt idx="2902">
                  <c:v>19.79</c:v>
                </c:pt>
                <c:pt idx="2903">
                  <c:v>21.96</c:v>
                </c:pt>
                <c:pt idx="2904">
                  <c:v>34</c:v>
                </c:pt>
                <c:pt idx="2905">
                  <c:v>27.81</c:v>
                </c:pt>
                <c:pt idx="2906">
                  <c:v>30.16</c:v>
                </c:pt>
                <c:pt idx="2907">
                  <c:v>26.69</c:v>
                </c:pt>
                <c:pt idx="2908">
                  <c:v>18.510000000000002</c:v>
                </c:pt>
                <c:pt idx="2909">
                  <c:v>15.53</c:v>
                </c:pt>
                <c:pt idx="2910">
                  <c:v>12.82</c:v>
                </c:pt>
                <c:pt idx="2911">
                  <c:v>13.46</c:v>
                </c:pt>
                <c:pt idx="2912">
                  <c:v>12.94</c:v>
                </c:pt>
                <c:pt idx="2913">
                  <c:v>11.89</c:v>
                </c:pt>
                <c:pt idx="2914">
                  <c:v>10.51</c:v>
                </c:pt>
                <c:pt idx="2915">
                  <c:v>8.74</c:v>
                </c:pt>
                <c:pt idx="2916">
                  <c:v>11.97</c:v>
                </c:pt>
                <c:pt idx="2917">
                  <c:v>13.83</c:v>
                </c:pt>
                <c:pt idx="2918">
                  <c:v>21.19</c:v>
                </c:pt>
                <c:pt idx="2919">
                  <c:v>16.440000000000001</c:v>
                </c:pt>
                <c:pt idx="2920">
                  <c:v>16.010000000000002</c:v>
                </c:pt>
                <c:pt idx="2921">
                  <c:v>15.47</c:v>
                </c:pt>
                <c:pt idx="2922">
                  <c:v>16.61</c:v>
                </c:pt>
                <c:pt idx="2923">
                  <c:v>15.7</c:v>
                </c:pt>
                <c:pt idx="2924">
                  <c:v>16.8</c:v>
                </c:pt>
                <c:pt idx="2925">
                  <c:v>19.21</c:v>
                </c:pt>
                <c:pt idx="2926">
                  <c:v>22.88</c:v>
                </c:pt>
                <c:pt idx="2927">
                  <c:v>30.09</c:v>
                </c:pt>
                <c:pt idx="2928">
                  <c:v>38.94</c:v>
                </c:pt>
                <c:pt idx="2929">
                  <c:v>32.76</c:v>
                </c:pt>
                <c:pt idx="2930">
                  <c:v>26.64</c:v>
                </c:pt>
                <c:pt idx="2931">
                  <c:v>22.1</c:v>
                </c:pt>
                <c:pt idx="2932">
                  <c:v>33.380000000000003</c:v>
                </c:pt>
                <c:pt idx="2933">
                  <c:v>31.33</c:v>
                </c:pt>
                <c:pt idx="2934">
                  <c:v>33.590000000000003</c:v>
                </c:pt>
                <c:pt idx="2935">
                  <c:v>43.04</c:v>
                </c:pt>
                <c:pt idx="2936">
                  <c:v>41.92</c:v>
                </c:pt>
                <c:pt idx="2937">
                  <c:v>26.94</c:v>
                </c:pt>
                <c:pt idx="2938">
                  <c:v>25.45</c:v>
                </c:pt>
                <c:pt idx="2939">
                  <c:v>49.26</c:v>
                </c:pt>
                <c:pt idx="2940">
                  <c:v>55.36</c:v>
                </c:pt>
                <c:pt idx="2941">
                  <c:v>50.38</c:v>
                </c:pt>
                <c:pt idx="2942">
                  <c:v>80.989999999999995</c:v>
                </c:pt>
                <c:pt idx="2943">
                  <c:v>37.5</c:v>
                </c:pt>
                <c:pt idx="2944">
                  <c:v>24.58</c:v>
                </c:pt>
                <c:pt idx="2945">
                  <c:v>22.56</c:v>
                </c:pt>
                <c:pt idx="2946">
                  <c:v>26.42</c:v>
                </c:pt>
                <c:pt idx="2947">
                  <c:v>18.5</c:v>
                </c:pt>
                <c:pt idx="2948">
                  <c:v>17.079999999999998</c:v>
                </c:pt>
                <c:pt idx="2949">
                  <c:v>17.16</c:v>
                </c:pt>
                <c:pt idx="2950">
                  <c:v>16.72</c:v>
                </c:pt>
                <c:pt idx="2951">
                  <c:v>14.85</c:v>
                </c:pt>
                <c:pt idx="2952">
                  <c:v>16.559999999999999</c:v>
                </c:pt>
                <c:pt idx="2953">
                  <c:v>19.23</c:v>
                </c:pt>
                <c:pt idx="2954">
                  <c:v>17.22</c:v>
                </c:pt>
                <c:pt idx="2955">
                  <c:v>18.3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ily!$A$3</c:f>
              <c:strCache>
                <c:ptCount val="1"/>
                <c:pt idx="0">
                  <c:v>Phelix</c:v>
                </c:pt>
              </c:strCache>
            </c:strRef>
          </c:tx>
          <c:spPr>
            <a:ln w="3175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trendline>
            <c:spPr>
              <a:ln w="25400" cap="rnd" cmpd="sng" algn="ctr">
                <a:solidFill>
                  <a:srgbClr val="FF0000"/>
                </a:solidFill>
                <a:prstDash val="solid"/>
                <a:round/>
              </a:ln>
              <a:effectLst/>
            </c:spPr>
            <c:trendlineType val="movingAvg"/>
            <c:period val="30"/>
            <c:dispRSqr val="0"/>
            <c:dispEq val="0"/>
          </c:trendline>
          <c:cat>
            <c:numRef>
              <c:f>Daily!$B$1:$DIS$1</c:f>
              <c:numCache>
                <c:formatCode>dd/mm/yy;@</c:formatCode>
                <c:ptCount val="2956"/>
                <c:pt idx="0">
                  <c:v>39448</c:v>
                </c:pt>
                <c:pt idx="1">
                  <c:v>39449</c:v>
                </c:pt>
                <c:pt idx="2">
                  <c:v>39450</c:v>
                </c:pt>
                <c:pt idx="3">
                  <c:v>39451</c:v>
                </c:pt>
                <c:pt idx="4">
                  <c:v>39452</c:v>
                </c:pt>
                <c:pt idx="5">
                  <c:v>39453</c:v>
                </c:pt>
                <c:pt idx="6">
                  <c:v>39454</c:v>
                </c:pt>
                <c:pt idx="7">
                  <c:v>39455</c:v>
                </c:pt>
                <c:pt idx="8">
                  <c:v>39456</c:v>
                </c:pt>
                <c:pt idx="9">
                  <c:v>39457</c:v>
                </c:pt>
                <c:pt idx="10">
                  <c:v>39458</c:v>
                </c:pt>
                <c:pt idx="11">
                  <c:v>39459</c:v>
                </c:pt>
                <c:pt idx="12">
                  <c:v>39460</c:v>
                </c:pt>
                <c:pt idx="13">
                  <c:v>39461</c:v>
                </c:pt>
                <c:pt idx="14">
                  <c:v>39462</c:v>
                </c:pt>
                <c:pt idx="15">
                  <c:v>39463</c:v>
                </c:pt>
                <c:pt idx="16">
                  <c:v>39464</c:v>
                </c:pt>
                <c:pt idx="17">
                  <c:v>39465</c:v>
                </c:pt>
                <c:pt idx="18">
                  <c:v>39466</c:v>
                </c:pt>
                <c:pt idx="19">
                  <c:v>39467</c:v>
                </c:pt>
                <c:pt idx="20">
                  <c:v>39468</c:v>
                </c:pt>
                <c:pt idx="21">
                  <c:v>39469</c:v>
                </c:pt>
                <c:pt idx="22">
                  <c:v>39470</c:v>
                </c:pt>
                <c:pt idx="23">
                  <c:v>39471</c:v>
                </c:pt>
                <c:pt idx="24">
                  <c:v>39472</c:v>
                </c:pt>
                <c:pt idx="25">
                  <c:v>39473</c:v>
                </c:pt>
                <c:pt idx="26">
                  <c:v>39474</c:v>
                </c:pt>
                <c:pt idx="27">
                  <c:v>39475</c:v>
                </c:pt>
                <c:pt idx="28">
                  <c:v>39476</c:v>
                </c:pt>
                <c:pt idx="29">
                  <c:v>39477</c:v>
                </c:pt>
                <c:pt idx="30">
                  <c:v>39478</c:v>
                </c:pt>
                <c:pt idx="31">
                  <c:v>39479</c:v>
                </c:pt>
                <c:pt idx="32">
                  <c:v>39480</c:v>
                </c:pt>
                <c:pt idx="33">
                  <c:v>39481</c:v>
                </c:pt>
                <c:pt idx="34">
                  <c:v>39482</c:v>
                </c:pt>
                <c:pt idx="35">
                  <c:v>39483</c:v>
                </c:pt>
                <c:pt idx="36">
                  <c:v>39484</c:v>
                </c:pt>
                <c:pt idx="37">
                  <c:v>39485</c:v>
                </c:pt>
                <c:pt idx="38">
                  <c:v>39486</c:v>
                </c:pt>
                <c:pt idx="39">
                  <c:v>39487</c:v>
                </c:pt>
                <c:pt idx="40">
                  <c:v>39488</c:v>
                </c:pt>
                <c:pt idx="41">
                  <c:v>39489</c:v>
                </c:pt>
                <c:pt idx="42">
                  <c:v>39490</c:v>
                </c:pt>
                <c:pt idx="43">
                  <c:v>39491</c:v>
                </c:pt>
                <c:pt idx="44">
                  <c:v>39492</c:v>
                </c:pt>
                <c:pt idx="45">
                  <c:v>39493</c:v>
                </c:pt>
                <c:pt idx="46">
                  <c:v>39494</c:v>
                </c:pt>
                <c:pt idx="47">
                  <c:v>39495</c:v>
                </c:pt>
                <c:pt idx="48">
                  <c:v>39496</c:v>
                </c:pt>
                <c:pt idx="49">
                  <c:v>39497</c:v>
                </c:pt>
                <c:pt idx="50">
                  <c:v>39498</c:v>
                </c:pt>
                <c:pt idx="51">
                  <c:v>39499</c:v>
                </c:pt>
                <c:pt idx="52">
                  <c:v>39500</c:v>
                </c:pt>
                <c:pt idx="53">
                  <c:v>39501</c:v>
                </c:pt>
                <c:pt idx="54">
                  <c:v>39502</c:v>
                </c:pt>
                <c:pt idx="55">
                  <c:v>39503</c:v>
                </c:pt>
                <c:pt idx="56">
                  <c:v>39504</c:v>
                </c:pt>
                <c:pt idx="57">
                  <c:v>39505</c:v>
                </c:pt>
                <c:pt idx="58">
                  <c:v>39506</c:v>
                </c:pt>
                <c:pt idx="59">
                  <c:v>39507</c:v>
                </c:pt>
                <c:pt idx="60">
                  <c:v>39508</c:v>
                </c:pt>
                <c:pt idx="61">
                  <c:v>39509</c:v>
                </c:pt>
                <c:pt idx="62">
                  <c:v>39510</c:v>
                </c:pt>
                <c:pt idx="63">
                  <c:v>39511</c:v>
                </c:pt>
                <c:pt idx="64">
                  <c:v>39512</c:v>
                </c:pt>
                <c:pt idx="65">
                  <c:v>39513</c:v>
                </c:pt>
                <c:pt idx="66">
                  <c:v>39514</c:v>
                </c:pt>
                <c:pt idx="67">
                  <c:v>39515</c:v>
                </c:pt>
                <c:pt idx="68">
                  <c:v>39516</c:v>
                </c:pt>
                <c:pt idx="69">
                  <c:v>39517</c:v>
                </c:pt>
                <c:pt idx="70">
                  <c:v>39518</c:v>
                </c:pt>
                <c:pt idx="71">
                  <c:v>39519</c:v>
                </c:pt>
                <c:pt idx="72">
                  <c:v>39520</c:v>
                </c:pt>
                <c:pt idx="73">
                  <c:v>39521</c:v>
                </c:pt>
                <c:pt idx="74">
                  <c:v>39522</c:v>
                </c:pt>
                <c:pt idx="75">
                  <c:v>39523</c:v>
                </c:pt>
                <c:pt idx="76">
                  <c:v>39524</c:v>
                </c:pt>
                <c:pt idx="77">
                  <c:v>39525</c:v>
                </c:pt>
                <c:pt idx="78">
                  <c:v>39526</c:v>
                </c:pt>
                <c:pt idx="79">
                  <c:v>39527</c:v>
                </c:pt>
                <c:pt idx="80">
                  <c:v>39528</c:v>
                </c:pt>
                <c:pt idx="81">
                  <c:v>39529</c:v>
                </c:pt>
                <c:pt idx="82">
                  <c:v>39530</c:v>
                </c:pt>
                <c:pt idx="83">
                  <c:v>39531</c:v>
                </c:pt>
                <c:pt idx="84">
                  <c:v>39532</c:v>
                </c:pt>
                <c:pt idx="85">
                  <c:v>39533</c:v>
                </c:pt>
                <c:pt idx="86">
                  <c:v>39534</c:v>
                </c:pt>
                <c:pt idx="87">
                  <c:v>39535</c:v>
                </c:pt>
                <c:pt idx="88">
                  <c:v>39536</c:v>
                </c:pt>
                <c:pt idx="89">
                  <c:v>39537</c:v>
                </c:pt>
                <c:pt idx="90">
                  <c:v>39538</c:v>
                </c:pt>
                <c:pt idx="91">
                  <c:v>39539</c:v>
                </c:pt>
                <c:pt idx="92">
                  <c:v>39540</c:v>
                </c:pt>
                <c:pt idx="93">
                  <c:v>39541</c:v>
                </c:pt>
                <c:pt idx="94">
                  <c:v>39542</c:v>
                </c:pt>
                <c:pt idx="95">
                  <c:v>39543</c:v>
                </c:pt>
                <c:pt idx="96">
                  <c:v>39544</c:v>
                </c:pt>
                <c:pt idx="97">
                  <c:v>39545</c:v>
                </c:pt>
                <c:pt idx="98">
                  <c:v>39546</c:v>
                </c:pt>
                <c:pt idx="99">
                  <c:v>39547</c:v>
                </c:pt>
                <c:pt idx="100">
                  <c:v>39548</c:v>
                </c:pt>
                <c:pt idx="101">
                  <c:v>39549</c:v>
                </c:pt>
                <c:pt idx="102">
                  <c:v>39550</c:v>
                </c:pt>
                <c:pt idx="103">
                  <c:v>39551</c:v>
                </c:pt>
                <c:pt idx="104">
                  <c:v>39552</c:v>
                </c:pt>
                <c:pt idx="105">
                  <c:v>39553</c:v>
                </c:pt>
                <c:pt idx="106">
                  <c:v>39554</c:v>
                </c:pt>
                <c:pt idx="107">
                  <c:v>39555</c:v>
                </c:pt>
                <c:pt idx="108">
                  <c:v>39556</c:v>
                </c:pt>
                <c:pt idx="109">
                  <c:v>39557</c:v>
                </c:pt>
                <c:pt idx="110">
                  <c:v>39558</c:v>
                </c:pt>
                <c:pt idx="111">
                  <c:v>39559</c:v>
                </c:pt>
                <c:pt idx="112">
                  <c:v>39560</c:v>
                </c:pt>
                <c:pt idx="113">
                  <c:v>39561</c:v>
                </c:pt>
                <c:pt idx="114">
                  <c:v>39562</c:v>
                </c:pt>
                <c:pt idx="115">
                  <c:v>39563</c:v>
                </c:pt>
                <c:pt idx="116">
                  <c:v>39564</c:v>
                </c:pt>
                <c:pt idx="117">
                  <c:v>39565</c:v>
                </c:pt>
                <c:pt idx="118">
                  <c:v>39566</c:v>
                </c:pt>
                <c:pt idx="119">
                  <c:v>39567</c:v>
                </c:pt>
                <c:pt idx="120">
                  <c:v>39568</c:v>
                </c:pt>
                <c:pt idx="121">
                  <c:v>39569</c:v>
                </c:pt>
                <c:pt idx="122">
                  <c:v>39570</c:v>
                </c:pt>
                <c:pt idx="123">
                  <c:v>39571</c:v>
                </c:pt>
                <c:pt idx="124">
                  <c:v>39572</c:v>
                </c:pt>
                <c:pt idx="125">
                  <c:v>39573</c:v>
                </c:pt>
                <c:pt idx="126">
                  <c:v>39574</c:v>
                </c:pt>
                <c:pt idx="127">
                  <c:v>39575</c:v>
                </c:pt>
                <c:pt idx="128">
                  <c:v>39576</c:v>
                </c:pt>
                <c:pt idx="129">
                  <c:v>39577</c:v>
                </c:pt>
                <c:pt idx="130">
                  <c:v>39578</c:v>
                </c:pt>
                <c:pt idx="131">
                  <c:v>39579</c:v>
                </c:pt>
                <c:pt idx="132">
                  <c:v>39580</c:v>
                </c:pt>
                <c:pt idx="133">
                  <c:v>39581</c:v>
                </c:pt>
                <c:pt idx="134">
                  <c:v>39582</c:v>
                </c:pt>
                <c:pt idx="135">
                  <c:v>39583</c:v>
                </c:pt>
                <c:pt idx="136">
                  <c:v>39584</c:v>
                </c:pt>
                <c:pt idx="137">
                  <c:v>39585</c:v>
                </c:pt>
                <c:pt idx="138">
                  <c:v>39586</c:v>
                </c:pt>
                <c:pt idx="139">
                  <c:v>39587</c:v>
                </c:pt>
                <c:pt idx="140">
                  <c:v>39588</c:v>
                </c:pt>
                <c:pt idx="141">
                  <c:v>39589</c:v>
                </c:pt>
                <c:pt idx="142">
                  <c:v>39590</c:v>
                </c:pt>
                <c:pt idx="143">
                  <c:v>39591</c:v>
                </c:pt>
                <c:pt idx="144">
                  <c:v>39592</c:v>
                </c:pt>
                <c:pt idx="145">
                  <c:v>39593</c:v>
                </c:pt>
                <c:pt idx="146">
                  <c:v>39594</c:v>
                </c:pt>
                <c:pt idx="147">
                  <c:v>39595</c:v>
                </c:pt>
                <c:pt idx="148">
                  <c:v>39596</c:v>
                </c:pt>
                <c:pt idx="149">
                  <c:v>39597</c:v>
                </c:pt>
                <c:pt idx="150">
                  <c:v>39598</c:v>
                </c:pt>
                <c:pt idx="151">
                  <c:v>39599</c:v>
                </c:pt>
                <c:pt idx="152">
                  <c:v>39600</c:v>
                </c:pt>
                <c:pt idx="153">
                  <c:v>39601</c:v>
                </c:pt>
                <c:pt idx="154">
                  <c:v>39602</c:v>
                </c:pt>
                <c:pt idx="155">
                  <c:v>39603</c:v>
                </c:pt>
                <c:pt idx="156">
                  <c:v>39604</c:v>
                </c:pt>
                <c:pt idx="157">
                  <c:v>39605</c:v>
                </c:pt>
                <c:pt idx="158">
                  <c:v>39606</c:v>
                </c:pt>
                <c:pt idx="159">
                  <c:v>39607</c:v>
                </c:pt>
                <c:pt idx="160">
                  <c:v>39608</c:v>
                </c:pt>
                <c:pt idx="161">
                  <c:v>39609</c:v>
                </c:pt>
                <c:pt idx="162">
                  <c:v>39610</c:v>
                </c:pt>
                <c:pt idx="163">
                  <c:v>39611</c:v>
                </c:pt>
                <c:pt idx="164">
                  <c:v>39612</c:v>
                </c:pt>
                <c:pt idx="165">
                  <c:v>39613</c:v>
                </c:pt>
                <c:pt idx="166">
                  <c:v>39614</c:v>
                </c:pt>
                <c:pt idx="167">
                  <c:v>39615</c:v>
                </c:pt>
                <c:pt idx="168">
                  <c:v>39616</c:v>
                </c:pt>
                <c:pt idx="169">
                  <c:v>39617</c:v>
                </c:pt>
                <c:pt idx="170">
                  <c:v>39618</c:v>
                </c:pt>
                <c:pt idx="171">
                  <c:v>39619</c:v>
                </c:pt>
                <c:pt idx="172">
                  <c:v>39620</c:v>
                </c:pt>
                <c:pt idx="173">
                  <c:v>39621</c:v>
                </c:pt>
                <c:pt idx="174">
                  <c:v>39622</c:v>
                </c:pt>
                <c:pt idx="175">
                  <c:v>39623</c:v>
                </c:pt>
                <c:pt idx="176">
                  <c:v>39624</c:v>
                </c:pt>
                <c:pt idx="177">
                  <c:v>39625</c:v>
                </c:pt>
                <c:pt idx="178">
                  <c:v>39626</c:v>
                </c:pt>
                <c:pt idx="179">
                  <c:v>39627</c:v>
                </c:pt>
                <c:pt idx="180">
                  <c:v>39628</c:v>
                </c:pt>
                <c:pt idx="181">
                  <c:v>39629</c:v>
                </c:pt>
                <c:pt idx="182">
                  <c:v>39630</c:v>
                </c:pt>
                <c:pt idx="183">
                  <c:v>39631</c:v>
                </c:pt>
                <c:pt idx="184">
                  <c:v>39632</c:v>
                </c:pt>
                <c:pt idx="185">
                  <c:v>39633</c:v>
                </c:pt>
                <c:pt idx="186">
                  <c:v>39634</c:v>
                </c:pt>
                <c:pt idx="187">
                  <c:v>39635</c:v>
                </c:pt>
                <c:pt idx="188">
                  <c:v>39636</c:v>
                </c:pt>
                <c:pt idx="189">
                  <c:v>39637</c:v>
                </c:pt>
                <c:pt idx="190">
                  <c:v>39638</c:v>
                </c:pt>
                <c:pt idx="191">
                  <c:v>39639</c:v>
                </c:pt>
                <c:pt idx="192">
                  <c:v>39640</c:v>
                </c:pt>
                <c:pt idx="193">
                  <c:v>39641</c:v>
                </c:pt>
                <c:pt idx="194">
                  <c:v>39642</c:v>
                </c:pt>
                <c:pt idx="195">
                  <c:v>39643</c:v>
                </c:pt>
                <c:pt idx="196">
                  <c:v>39644</c:v>
                </c:pt>
                <c:pt idx="197">
                  <c:v>39645</c:v>
                </c:pt>
                <c:pt idx="198">
                  <c:v>39646</c:v>
                </c:pt>
                <c:pt idx="199">
                  <c:v>39647</c:v>
                </c:pt>
                <c:pt idx="200">
                  <c:v>39648</c:v>
                </c:pt>
                <c:pt idx="201">
                  <c:v>39649</c:v>
                </c:pt>
                <c:pt idx="202">
                  <c:v>39650</c:v>
                </c:pt>
                <c:pt idx="203">
                  <c:v>39651</c:v>
                </c:pt>
                <c:pt idx="204">
                  <c:v>39652</c:v>
                </c:pt>
                <c:pt idx="205">
                  <c:v>39653</c:v>
                </c:pt>
                <c:pt idx="206">
                  <c:v>39654</c:v>
                </c:pt>
                <c:pt idx="207">
                  <c:v>39655</c:v>
                </c:pt>
                <c:pt idx="208">
                  <c:v>39656</c:v>
                </c:pt>
                <c:pt idx="209">
                  <c:v>39657</c:v>
                </c:pt>
                <c:pt idx="210">
                  <c:v>39658</c:v>
                </c:pt>
                <c:pt idx="211">
                  <c:v>39659</c:v>
                </c:pt>
                <c:pt idx="212">
                  <c:v>39660</c:v>
                </c:pt>
                <c:pt idx="213">
                  <c:v>39661</c:v>
                </c:pt>
                <c:pt idx="214">
                  <c:v>39662</c:v>
                </c:pt>
                <c:pt idx="215">
                  <c:v>39663</c:v>
                </c:pt>
                <c:pt idx="216">
                  <c:v>39664</c:v>
                </c:pt>
                <c:pt idx="217">
                  <c:v>39665</c:v>
                </c:pt>
                <c:pt idx="218">
                  <c:v>39666</c:v>
                </c:pt>
                <c:pt idx="219">
                  <c:v>39667</c:v>
                </c:pt>
                <c:pt idx="220">
                  <c:v>39668</c:v>
                </c:pt>
                <c:pt idx="221">
                  <c:v>39669</c:v>
                </c:pt>
                <c:pt idx="222">
                  <c:v>39670</c:v>
                </c:pt>
                <c:pt idx="223">
                  <c:v>39671</c:v>
                </c:pt>
                <c:pt idx="224">
                  <c:v>39672</c:v>
                </c:pt>
                <c:pt idx="225">
                  <c:v>39673</c:v>
                </c:pt>
                <c:pt idx="226">
                  <c:v>39674</c:v>
                </c:pt>
                <c:pt idx="227">
                  <c:v>39675</c:v>
                </c:pt>
                <c:pt idx="228">
                  <c:v>39676</c:v>
                </c:pt>
                <c:pt idx="229">
                  <c:v>39677</c:v>
                </c:pt>
                <c:pt idx="230">
                  <c:v>39678</c:v>
                </c:pt>
                <c:pt idx="231">
                  <c:v>39679</c:v>
                </c:pt>
                <c:pt idx="232">
                  <c:v>39680</c:v>
                </c:pt>
                <c:pt idx="233">
                  <c:v>39681</c:v>
                </c:pt>
                <c:pt idx="234">
                  <c:v>39682</c:v>
                </c:pt>
                <c:pt idx="235">
                  <c:v>39683</c:v>
                </c:pt>
                <c:pt idx="236">
                  <c:v>39684</c:v>
                </c:pt>
                <c:pt idx="237">
                  <c:v>39685</c:v>
                </c:pt>
                <c:pt idx="238">
                  <c:v>39686</c:v>
                </c:pt>
                <c:pt idx="239">
                  <c:v>39687</c:v>
                </c:pt>
                <c:pt idx="240">
                  <c:v>39688</c:v>
                </c:pt>
                <c:pt idx="241">
                  <c:v>39689</c:v>
                </c:pt>
                <c:pt idx="242">
                  <c:v>39690</c:v>
                </c:pt>
                <c:pt idx="243">
                  <c:v>39691</c:v>
                </c:pt>
                <c:pt idx="244">
                  <c:v>39692</c:v>
                </c:pt>
                <c:pt idx="245">
                  <c:v>39693</c:v>
                </c:pt>
                <c:pt idx="246">
                  <c:v>39694</c:v>
                </c:pt>
                <c:pt idx="247">
                  <c:v>39695</c:v>
                </c:pt>
                <c:pt idx="248">
                  <c:v>39696</c:v>
                </c:pt>
                <c:pt idx="249">
                  <c:v>39697</c:v>
                </c:pt>
                <c:pt idx="250">
                  <c:v>39698</c:v>
                </c:pt>
                <c:pt idx="251">
                  <c:v>39699</c:v>
                </c:pt>
                <c:pt idx="252">
                  <c:v>39700</c:v>
                </c:pt>
                <c:pt idx="253">
                  <c:v>39701</c:v>
                </c:pt>
                <c:pt idx="254">
                  <c:v>39702</c:v>
                </c:pt>
                <c:pt idx="255">
                  <c:v>39703</c:v>
                </c:pt>
                <c:pt idx="256">
                  <c:v>39704</c:v>
                </c:pt>
                <c:pt idx="257">
                  <c:v>39705</c:v>
                </c:pt>
                <c:pt idx="258">
                  <c:v>39706</c:v>
                </c:pt>
                <c:pt idx="259">
                  <c:v>39707</c:v>
                </c:pt>
                <c:pt idx="260">
                  <c:v>39708</c:v>
                </c:pt>
                <c:pt idx="261">
                  <c:v>39709</c:v>
                </c:pt>
                <c:pt idx="262">
                  <c:v>39710</c:v>
                </c:pt>
                <c:pt idx="263">
                  <c:v>39711</c:v>
                </c:pt>
                <c:pt idx="264">
                  <c:v>39712</c:v>
                </c:pt>
                <c:pt idx="265">
                  <c:v>39713</c:v>
                </c:pt>
                <c:pt idx="266">
                  <c:v>39714</c:v>
                </c:pt>
                <c:pt idx="267">
                  <c:v>39715</c:v>
                </c:pt>
                <c:pt idx="268">
                  <c:v>39716</c:v>
                </c:pt>
                <c:pt idx="269">
                  <c:v>39717</c:v>
                </c:pt>
                <c:pt idx="270">
                  <c:v>39718</c:v>
                </c:pt>
                <c:pt idx="271">
                  <c:v>39719</c:v>
                </c:pt>
                <c:pt idx="272">
                  <c:v>39720</c:v>
                </c:pt>
                <c:pt idx="273">
                  <c:v>39721</c:v>
                </c:pt>
                <c:pt idx="274">
                  <c:v>39722</c:v>
                </c:pt>
                <c:pt idx="275">
                  <c:v>39723</c:v>
                </c:pt>
                <c:pt idx="276">
                  <c:v>39724</c:v>
                </c:pt>
                <c:pt idx="277">
                  <c:v>39725</c:v>
                </c:pt>
                <c:pt idx="278">
                  <c:v>39726</c:v>
                </c:pt>
                <c:pt idx="279">
                  <c:v>39727</c:v>
                </c:pt>
                <c:pt idx="280">
                  <c:v>39728</c:v>
                </c:pt>
                <c:pt idx="281">
                  <c:v>39729</c:v>
                </c:pt>
                <c:pt idx="282">
                  <c:v>39730</c:v>
                </c:pt>
                <c:pt idx="283">
                  <c:v>39731</c:v>
                </c:pt>
                <c:pt idx="284">
                  <c:v>39732</c:v>
                </c:pt>
                <c:pt idx="285">
                  <c:v>39733</c:v>
                </c:pt>
                <c:pt idx="286">
                  <c:v>39734</c:v>
                </c:pt>
                <c:pt idx="287">
                  <c:v>39735</c:v>
                </c:pt>
                <c:pt idx="288">
                  <c:v>39736</c:v>
                </c:pt>
                <c:pt idx="289">
                  <c:v>39737</c:v>
                </c:pt>
                <c:pt idx="290">
                  <c:v>39738</c:v>
                </c:pt>
                <c:pt idx="291">
                  <c:v>39739</c:v>
                </c:pt>
                <c:pt idx="292">
                  <c:v>39740</c:v>
                </c:pt>
                <c:pt idx="293">
                  <c:v>39741</c:v>
                </c:pt>
                <c:pt idx="294">
                  <c:v>39742</c:v>
                </c:pt>
                <c:pt idx="295">
                  <c:v>39743</c:v>
                </c:pt>
                <c:pt idx="296">
                  <c:v>39744</c:v>
                </c:pt>
                <c:pt idx="297">
                  <c:v>39745</c:v>
                </c:pt>
                <c:pt idx="298">
                  <c:v>39746</c:v>
                </c:pt>
                <c:pt idx="299">
                  <c:v>39747</c:v>
                </c:pt>
                <c:pt idx="300">
                  <c:v>39748</c:v>
                </c:pt>
                <c:pt idx="301">
                  <c:v>39749</c:v>
                </c:pt>
                <c:pt idx="302">
                  <c:v>39750</c:v>
                </c:pt>
                <c:pt idx="303">
                  <c:v>39751</c:v>
                </c:pt>
                <c:pt idx="304">
                  <c:v>39752</c:v>
                </c:pt>
                <c:pt idx="305">
                  <c:v>39753</c:v>
                </c:pt>
                <c:pt idx="306">
                  <c:v>39754</c:v>
                </c:pt>
                <c:pt idx="307">
                  <c:v>39755</c:v>
                </c:pt>
                <c:pt idx="308">
                  <c:v>39756</c:v>
                </c:pt>
                <c:pt idx="309">
                  <c:v>39757</c:v>
                </c:pt>
                <c:pt idx="310">
                  <c:v>39758</c:v>
                </c:pt>
                <c:pt idx="311">
                  <c:v>39759</c:v>
                </c:pt>
                <c:pt idx="312">
                  <c:v>39760</c:v>
                </c:pt>
                <c:pt idx="313">
                  <c:v>39761</c:v>
                </c:pt>
                <c:pt idx="314">
                  <c:v>39762</c:v>
                </c:pt>
                <c:pt idx="315">
                  <c:v>39763</c:v>
                </c:pt>
                <c:pt idx="316">
                  <c:v>39764</c:v>
                </c:pt>
                <c:pt idx="317">
                  <c:v>39765</c:v>
                </c:pt>
                <c:pt idx="318">
                  <c:v>39766</c:v>
                </c:pt>
                <c:pt idx="319">
                  <c:v>39767</c:v>
                </c:pt>
                <c:pt idx="320">
                  <c:v>39768</c:v>
                </c:pt>
                <c:pt idx="321">
                  <c:v>39769</c:v>
                </c:pt>
                <c:pt idx="322">
                  <c:v>39770</c:v>
                </c:pt>
                <c:pt idx="323">
                  <c:v>39771</c:v>
                </c:pt>
                <c:pt idx="324">
                  <c:v>39772</c:v>
                </c:pt>
                <c:pt idx="325">
                  <c:v>39773</c:v>
                </c:pt>
                <c:pt idx="326">
                  <c:v>39774</c:v>
                </c:pt>
                <c:pt idx="327">
                  <c:v>39775</c:v>
                </c:pt>
                <c:pt idx="328">
                  <c:v>39776</c:v>
                </c:pt>
                <c:pt idx="329">
                  <c:v>39777</c:v>
                </c:pt>
                <c:pt idx="330">
                  <c:v>39778</c:v>
                </c:pt>
                <c:pt idx="331">
                  <c:v>39779</c:v>
                </c:pt>
                <c:pt idx="332">
                  <c:v>39780</c:v>
                </c:pt>
                <c:pt idx="333">
                  <c:v>39781</c:v>
                </c:pt>
                <c:pt idx="334">
                  <c:v>39782</c:v>
                </c:pt>
                <c:pt idx="335">
                  <c:v>39783</c:v>
                </c:pt>
                <c:pt idx="336">
                  <c:v>39784</c:v>
                </c:pt>
                <c:pt idx="337">
                  <c:v>39785</c:v>
                </c:pt>
                <c:pt idx="338">
                  <c:v>39786</c:v>
                </c:pt>
                <c:pt idx="339">
                  <c:v>39787</c:v>
                </c:pt>
                <c:pt idx="340">
                  <c:v>39788</c:v>
                </c:pt>
                <c:pt idx="341">
                  <c:v>39789</c:v>
                </c:pt>
                <c:pt idx="342">
                  <c:v>39790</c:v>
                </c:pt>
                <c:pt idx="343">
                  <c:v>39791</c:v>
                </c:pt>
                <c:pt idx="344">
                  <c:v>39792</c:v>
                </c:pt>
                <c:pt idx="345">
                  <c:v>39793</c:v>
                </c:pt>
                <c:pt idx="346">
                  <c:v>39794</c:v>
                </c:pt>
                <c:pt idx="347">
                  <c:v>39795</c:v>
                </c:pt>
                <c:pt idx="348">
                  <c:v>39796</c:v>
                </c:pt>
                <c:pt idx="349">
                  <c:v>39797</c:v>
                </c:pt>
                <c:pt idx="350">
                  <c:v>39798</c:v>
                </c:pt>
                <c:pt idx="351">
                  <c:v>39799</c:v>
                </c:pt>
                <c:pt idx="352">
                  <c:v>39800</c:v>
                </c:pt>
                <c:pt idx="353">
                  <c:v>39801</c:v>
                </c:pt>
                <c:pt idx="354">
                  <c:v>39802</c:v>
                </c:pt>
                <c:pt idx="355">
                  <c:v>39803</c:v>
                </c:pt>
                <c:pt idx="356">
                  <c:v>39804</c:v>
                </c:pt>
                <c:pt idx="357">
                  <c:v>39805</c:v>
                </c:pt>
                <c:pt idx="358">
                  <c:v>39806</c:v>
                </c:pt>
                <c:pt idx="359">
                  <c:v>39807</c:v>
                </c:pt>
                <c:pt idx="360">
                  <c:v>39808</c:v>
                </c:pt>
                <c:pt idx="361">
                  <c:v>39809</c:v>
                </c:pt>
                <c:pt idx="362">
                  <c:v>39810</c:v>
                </c:pt>
                <c:pt idx="363">
                  <c:v>39811</c:v>
                </c:pt>
                <c:pt idx="364">
                  <c:v>39812</c:v>
                </c:pt>
                <c:pt idx="365">
                  <c:v>39813</c:v>
                </c:pt>
                <c:pt idx="366">
                  <c:v>39814</c:v>
                </c:pt>
                <c:pt idx="367">
                  <c:v>39815</c:v>
                </c:pt>
                <c:pt idx="368">
                  <c:v>39816</c:v>
                </c:pt>
                <c:pt idx="369">
                  <c:v>39817</c:v>
                </c:pt>
                <c:pt idx="370">
                  <c:v>39818</c:v>
                </c:pt>
                <c:pt idx="371">
                  <c:v>39819</c:v>
                </c:pt>
                <c:pt idx="372">
                  <c:v>39820</c:v>
                </c:pt>
                <c:pt idx="373">
                  <c:v>39821</c:v>
                </c:pt>
                <c:pt idx="374">
                  <c:v>39822</c:v>
                </c:pt>
                <c:pt idx="375">
                  <c:v>39823</c:v>
                </c:pt>
                <c:pt idx="376">
                  <c:v>39824</c:v>
                </c:pt>
                <c:pt idx="377">
                  <c:v>39825</c:v>
                </c:pt>
                <c:pt idx="378">
                  <c:v>39826</c:v>
                </c:pt>
                <c:pt idx="379">
                  <c:v>39827</c:v>
                </c:pt>
                <c:pt idx="380">
                  <c:v>39828</c:v>
                </c:pt>
                <c:pt idx="381">
                  <c:v>39829</c:v>
                </c:pt>
                <c:pt idx="382">
                  <c:v>39830</c:v>
                </c:pt>
                <c:pt idx="383">
                  <c:v>39831</c:v>
                </c:pt>
                <c:pt idx="384">
                  <c:v>39832</c:v>
                </c:pt>
                <c:pt idx="385">
                  <c:v>39833</c:v>
                </c:pt>
                <c:pt idx="386">
                  <c:v>39834</c:v>
                </c:pt>
                <c:pt idx="387">
                  <c:v>39835</c:v>
                </c:pt>
                <c:pt idx="388">
                  <c:v>39836</c:v>
                </c:pt>
                <c:pt idx="389">
                  <c:v>39837</c:v>
                </c:pt>
                <c:pt idx="390">
                  <c:v>39838</c:v>
                </c:pt>
                <c:pt idx="391">
                  <c:v>39839</c:v>
                </c:pt>
                <c:pt idx="392">
                  <c:v>39840</c:v>
                </c:pt>
                <c:pt idx="393">
                  <c:v>39841</c:v>
                </c:pt>
                <c:pt idx="394">
                  <c:v>39842</c:v>
                </c:pt>
                <c:pt idx="395">
                  <c:v>39843</c:v>
                </c:pt>
                <c:pt idx="396">
                  <c:v>39844</c:v>
                </c:pt>
                <c:pt idx="397">
                  <c:v>39845</c:v>
                </c:pt>
                <c:pt idx="398">
                  <c:v>39846</c:v>
                </c:pt>
                <c:pt idx="399">
                  <c:v>39847</c:v>
                </c:pt>
                <c:pt idx="400">
                  <c:v>39848</c:v>
                </c:pt>
                <c:pt idx="401">
                  <c:v>39849</c:v>
                </c:pt>
                <c:pt idx="402">
                  <c:v>39850</c:v>
                </c:pt>
                <c:pt idx="403">
                  <c:v>39851</c:v>
                </c:pt>
                <c:pt idx="404">
                  <c:v>39852</c:v>
                </c:pt>
                <c:pt idx="405">
                  <c:v>39853</c:v>
                </c:pt>
                <c:pt idx="406">
                  <c:v>39854</c:v>
                </c:pt>
                <c:pt idx="407">
                  <c:v>39855</c:v>
                </c:pt>
                <c:pt idx="408">
                  <c:v>39856</c:v>
                </c:pt>
                <c:pt idx="409">
                  <c:v>39857</c:v>
                </c:pt>
                <c:pt idx="410">
                  <c:v>39858</c:v>
                </c:pt>
                <c:pt idx="411">
                  <c:v>39859</c:v>
                </c:pt>
                <c:pt idx="412">
                  <c:v>39860</c:v>
                </c:pt>
                <c:pt idx="413">
                  <c:v>39861</c:v>
                </c:pt>
                <c:pt idx="414">
                  <c:v>39862</c:v>
                </c:pt>
                <c:pt idx="415">
                  <c:v>39863</c:v>
                </c:pt>
                <c:pt idx="416">
                  <c:v>39864</c:v>
                </c:pt>
                <c:pt idx="417">
                  <c:v>39865</c:v>
                </c:pt>
                <c:pt idx="418">
                  <c:v>39866</c:v>
                </c:pt>
                <c:pt idx="419">
                  <c:v>39867</c:v>
                </c:pt>
                <c:pt idx="420">
                  <c:v>39868</c:v>
                </c:pt>
                <c:pt idx="421">
                  <c:v>39869</c:v>
                </c:pt>
                <c:pt idx="422">
                  <c:v>39870</c:v>
                </c:pt>
                <c:pt idx="423">
                  <c:v>39871</c:v>
                </c:pt>
                <c:pt idx="424">
                  <c:v>39872</c:v>
                </c:pt>
                <c:pt idx="425">
                  <c:v>39873</c:v>
                </c:pt>
                <c:pt idx="426">
                  <c:v>39874</c:v>
                </c:pt>
                <c:pt idx="427">
                  <c:v>39875</c:v>
                </c:pt>
                <c:pt idx="428">
                  <c:v>39876</c:v>
                </c:pt>
                <c:pt idx="429">
                  <c:v>39877</c:v>
                </c:pt>
                <c:pt idx="430">
                  <c:v>39878</c:v>
                </c:pt>
                <c:pt idx="431">
                  <c:v>39879</c:v>
                </c:pt>
                <c:pt idx="432">
                  <c:v>39880</c:v>
                </c:pt>
                <c:pt idx="433">
                  <c:v>39881</c:v>
                </c:pt>
                <c:pt idx="434">
                  <c:v>39882</c:v>
                </c:pt>
                <c:pt idx="435">
                  <c:v>39883</c:v>
                </c:pt>
                <c:pt idx="436">
                  <c:v>39884</c:v>
                </c:pt>
                <c:pt idx="437">
                  <c:v>39885</c:v>
                </c:pt>
                <c:pt idx="438">
                  <c:v>39886</c:v>
                </c:pt>
                <c:pt idx="439">
                  <c:v>39887</c:v>
                </c:pt>
                <c:pt idx="440">
                  <c:v>39888</c:v>
                </c:pt>
                <c:pt idx="441">
                  <c:v>39889</c:v>
                </c:pt>
                <c:pt idx="442">
                  <c:v>39890</c:v>
                </c:pt>
                <c:pt idx="443">
                  <c:v>39891</c:v>
                </c:pt>
                <c:pt idx="444">
                  <c:v>39892</c:v>
                </c:pt>
                <c:pt idx="445">
                  <c:v>39893</c:v>
                </c:pt>
                <c:pt idx="446">
                  <c:v>39894</c:v>
                </c:pt>
                <c:pt idx="447">
                  <c:v>39895</c:v>
                </c:pt>
                <c:pt idx="448">
                  <c:v>39896</c:v>
                </c:pt>
                <c:pt idx="449">
                  <c:v>39897</c:v>
                </c:pt>
                <c:pt idx="450">
                  <c:v>39898</c:v>
                </c:pt>
                <c:pt idx="451">
                  <c:v>39899</c:v>
                </c:pt>
                <c:pt idx="452">
                  <c:v>39900</c:v>
                </c:pt>
                <c:pt idx="453">
                  <c:v>39901</c:v>
                </c:pt>
                <c:pt idx="454">
                  <c:v>39902</c:v>
                </c:pt>
                <c:pt idx="455">
                  <c:v>39903</c:v>
                </c:pt>
                <c:pt idx="456">
                  <c:v>39904</c:v>
                </c:pt>
                <c:pt idx="457">
                  <c:v>39905</c:v>
                </c:pt>
                <c:pt idx="458">
                  <c:v>39906</c:v>
                </c:pt>
                <c:pt idx="459">
                  <c:v>39907</c:v>
                </c:pt>
                <c:pt idx="460">
                  <c:v>39908</c:v>
                </c:pt>
                <c:pt idx="461">
                  <c:v>39909</c:v>
                </c:pt>
                <c:pt idx="462">
                  <c:v>39910</c:v>
                </c:pt>
                <c:pt idx="463">
                  <c:v>39911</c:v>
                </c:pt>
                <c:pt idx="464">
                  <c:v>39912</c:v>
                </c:pt>
                <c:pt idx="465">
                  <c:v>39913</c:v>
                </c:pt>
                <c:pt idx="466">
                  <c:v>39914</c:v>
                </c:pt>
                <c:pt idx="467">
                  <c:v>39915</c:v>
                </c:pt>
                <c:pt idx="468">
                  <c:v>39916</c:v>
                </c:pt>
                <c:pt idx="469">
                  <c:v>39917</c:v>
                </c:pt>
                <c:pt idx="470">
                  <c:v>39918</c:v>
                </c:pt>
                <c:pt idx="471">
                  <c:v>39919</c:v>
                </c:pt>
                <c:pt idx="472">
                  <c:v>39920</c:v>
                </c:pt>
                <c:pt idx="473">
                  <c:v>39921</c:v>
                </c:pt>
                <c:pt idx="474">
                  <c:v>39922</c:v>
                </c:pt>
                <c:pt idx="475">
                  <c:v>39923</c:v>
                </c:pt>
                <c:pt idx="476">
                  <c:v>39924</c:v>
                </c:pt>
                <c:pt idx="477">
                  <c:v>39925</c:v>
                </c:pt>
                <c:pt idx="478">
                  <c:v>39926</c:v>
                </c:pt>
                <c:pt idx="479">
                  <c:v>39927</c:v>
                </c:pt>
                <c:pt idx="480">
                  <c:v>39928</c:v>
                </c:pt>
                <c:pt idx="481">
                  <c:v>39929</c:v>
                </c:pt>
                <c:pt idx="482">
                  <c:v>39930</c:v>
                </c:pt>
                <c:pt idx="483">
                  <c:v>39931</c:v>
                </c:pt>
                <c:pt idx="484">
                  <c:v>39932</c:v>
                </c:pt>
                <c:pt idx="485">
                  <c:v>39933</c:v>
                </c:pt>
                <c:pt idx="486">
                  <c:v>39934</c:v>
                </c:pt>
                <c:pt idx="487">
                  <c:v>39935</c:v>
                </c:pt>
                <c:pt idx="488">
                  <c:v>39936</c:v>
                </c:pt>
                <c:pt idx="489">
                  <c:v>39937</c:v>
                </c:pt>
                <c:pt idx="490">
                  <c:v>39938</c:v>
                </c:pt>
                <c:pt idx="491">
                  <c:v>39939</c:v>
                </c:pt>
                <c:pt idx="492">
                  <c:v>39940</c:v>
                </c:pt>
                <c:pt idx="493">
                  <c:v>39941</c:v>
                </c:pt>
                <c:pt idx="494">
                  <c:v>39942</c:v>
                </c:pt>
                <c:pt idx="495">
                  <c:v>39943</c:v>
                </c:pt>
                <c:pt idx="496">
                  <c:v>39944</c:v>
                </c:pt>
                <c:pt idx="497">
                  <c:v>39945</c:v>
                </c:pt>
                <c:pt idx="498">
                  <c:v>39946</c:v>
                </c:pt>
                <c:pt idx="499">
                  <c:v>39947</c:v>
                </c:pt>
                <c:pt idx="500">
                  <c:v>39948</c:v>
                </c:pt>
                <c:pt idx="501">
                  <c:v>39949</c:v>
                </c:pt>
                <c:pt idx="502">
                  <c:v>39950</c:v>
                </c:pt>
                <c:pt idx="503">
                  <c:v>39951</c:v>
                </c:pt>
                <c:pt idx="504">
                  <c:v>39952</c:v>
                </c:pt>
                <c:pt idx="505">
                  <c:v>39953</c:v>
                </c:pt>
                <c:pt idx="506">
                  <c:v>39954</c:v>
                </c:pt>
                <c:pt idx="507">
                  <c:v>39955</c:v>
                </c:pt>
                <c:pt idx="508">
                  <c:v>39956</c:v>
                </c:pt>
                <c:pt idx="509">
                  <c:v>39957</c:v>
                </c:pt>
                <c:pt idx="510">
                  <c:v>39958</c:v>
                </c:pt>
                <c:pt idx="511">
                  <c:v>39959</c:v>
                </c:pt>
                <c:pt idx="512">
                  <c:v>39960</c:v>
                </c:pt>
                <c:pt idx="513">
                  <c:v>39961</c:v>
                </c:pt>
                <c:pt idx="514">
                  <c:v>39962</c:v>
                </c:pt>
                <c:pt idx="515">
                  <c:v>39963</c:v>
                </c:pt>
                <c:pt idx="516">
                  <c:v>39964</c:v>
                </c:pt>
                <c:pt idx="517">
                  <c:v>39965</c:v>
                </c:pt>
                <c:pt idx="518">
                  <c:v>39966</c:v>
                </c:pt>
                <c:pt idx="519">
                  <c:v>39967</c:v>
                </c:pt>
                <c:pt idx="520">
                  <c:v>39968</c:v>
                </c:pt>
                <c:pt idx="521">
                  <c:v>39969</c:v>
                </c:pt>
                <c:pt idx="522">
                  <c:v>39970</c:v>
                </c:pt>
                <c:pt idx="523">
                  <c:v>39971</c:v>
                </c:pt>
                <c:pt idx="524">
                  <c:v>39972</c:v>
                </c:pt>
                <c:pt idx="525">
                  <c:v>39973</c:v>
                </c:pt>
                <c:pt idx="526">
                  <c:v>39974</c:v>
                </c:pt>
                <c:pt idx="527">
                  <c:v>39975</c:v>
                </c:pt>
                <c:pt idx="528">
                  <c:v>39976</c:v>
                </c:pt>
                <c:pt idx="529">
                  <c:v>39977</c:v>
                </c:pt>
                <c:pt idx="530">
                  <c:v>39978</c:v>
                </c:pt>
                <c:pt idx="531">
                  <c:v>39979</c:v>
                </c:pt>
                <c:pt idx="532">
                  <c:v>39980</c:v>
                </c:pt>
                <c:pt idx="533">
                  <c:v>39981</c:v>
                </c:pt>
                <c:pt idx="534">
                  <c:v>39982</c:v>
                </c:pt>
                <c:pt idx="535">
                  <c:v>39983</c:v>
                </c:pt>
                <c:pt idx="536">
                  <c:v>39984</c:v>
                </c:pt>
                <c:pt idx="537">
                  <c:v>39985</c:v>
                </c:pt>
                <c:pt idx="538">
                  <c:v>39986</c:v>
                </c:pt>
                <c:pt idx="539">
                  <c:v>39987</c:v>
                </c:pt>
                <c:pt idx="540">
                  <c:v>39988</c:v>
                </c:pt>
                <c:pt idx="541">
                  <c:v>39989</c:v>
                </c:pt>
                <c:pt idx="542">
                  <c:v>39990</c:v>
                </c:pt>
                <c:pt idx="543">
                  <c:v>39991</c:v>
                </c:pt>
                <c:pt idx="544">
                  <c:v>39992</c:v>
                </c:pt>
                <c:pt idx="545">
                  <c:v>39993</c:v>
                </c:pt>
                <c:pt idx="546">
                  <c:v>39994</c:v>
                </c:pt>
                <c:pt idx="547">
                  <c:v>39995</c:v>
                </c:pt>
                <c:pt idx="548">
                  <c:v>39996</c:v>
                </c:pt>
                <c:pt idx="549">
                  <c:v>39997</c:v>
                </c:pt>
                <c:pt idx="550">
                  <c:v>39998</c:v>
                </c:pt>
                <c:pt idx="551">
                  <c:v>39999</c:v>
                </c:pt>
                <c:pt idx="552">
                  <c:v>40000</c:v>
                </c:pt>
                <c:pt idx="553">
                  <c:v>40001</c:v>
                </c:pt>
                <c:pt idx="554">
                  <c:v>40002</c:v>
                </c:pt>
                <c:pt idx="555">
                  <c:v>40003</c:v>
                </c:pt>
                <c:pt idx="556">
                  <c:v>40004</c:v>
                </c:pt>
                <c:pt idx="557">
                  <c:v>40005</c:v>
                </c:pt>
                <c:pt idx="558">
                  <c:v>40006</c:v>
                </c:pt>
                <c:pt idx="559">
                  <c:v>40007</c:v>
                </c:pt>
                <c:pt idx="560">
                  <c:v>40008</c:v>
                </c:pt>
                <c:pt idx="561">
                  <c:v>40009</c:v>
                </c:pt>
                <c:pt idx="562">
                  <c:v>40010</c:v>
                </c:pt>
                <c:pt idx="563">
                  <c:v>40011</c:v>
                </c:pt>
                <c:pt idx="564">
                  <c:v>40012</c:v>
                </c:pt>
                <c:pt idx="565">
                  <c:v>40013</c:v>
                </c:pt>
                <c:pt idx="566">
                  <c:v>40014</c:v>
                </c:pt>
                <c:pt idx="567">
                  <c:v>40015</c:v>
                </c:pt>
                <c:pt idx="568">
                  <c:v>40016</c:v>
                </c:pt>
                <c:pt idx="569">
                  <c:v>40017</c:v>
                </c:pt>
                <c:pt idx="570">
                  <c:v>40018</c:v>
                </c:pt>
                <c:pt idx="571">
                  <c:v>40019</c:v>
                </c:pt>
                <c:pt idx="572">
                  <c:v>40020</c:v>
                </c:pt>
                <c:pt idx="573">
                  <c:v>40021</c:v>
                </c:pt>
                <c:pt idx="574">
                  <c:v>40022</c:v>
                </c:pt>
                <c:pt idx="575">
                  <c:v>40023</c:v>
                </c:pt>
                <c:pt idx="576">
                  <c:v>40024</c:v>
                </c:pt>
                <c:pt idx="577">
                  <c:v>40025</c:v>
                </c:pt>
                <c:pt idx="578">
                  <c:v>40026</c:v>
                </c:pt>
                <c:pt idx="579">
                  <c:v>40027</c:v>
                </c:pt>
                <c:pt idx="580">
                  <c:v>40028</c:v>
                </c:pt>
                <c:pt idx="581">
                  <c:v>40029</c:v>
                </c:pt>
                <c:pt idx="582">
                  <c:v>40030</c:v>
                </c:pt>
                <c:pt idx="583">
                  <c:v>40031</c:v>
                </c:pt>
                <c:pt idx="584">
                  <c:v>40032</c:v>
                </c:pt>
                <c:pt idx="585">
                  <c:v>40033</c:v>
                </c:pt>
                <c:pt idx="586">
                  <c:v>40034</c:v>
                </c:pt>
                <c:pt idx="587">
                  <c:v>40035</c:v>
                </c:pt>
                <c:pt idx="588">
                  <c:v>40036</c:v>
                </c:pt>
                <c:pt idx="589">
                  <c:v>40037</c:v>
                </c:pt>
                <c:pt idx="590">
                  <c:v>40038</c:v>
                </c:pt>
                <c:pt idx="591">
                  <c:v>40039</c:v>
                </c:pt>
                <c:pt idx="592">
                  <c:v>40040</c:v>
                </c:pt>
                <c:pt idx="593">
                  <c:v>40041</c:v>
                </c:pt>
                <c:pt idx="594">
                  <c:v>40042</c:v>
                </c:pt>
                <c:pt idx="595">
                  <c:v>40043</c:v>
                </c:pt>
                <c:pt idx="596">
                  <c:v>40044</c:v>
                </c:pt>
                <c:pt idx="597">
                  <c:v>40045</c:v>
                </c:pt>
                <c:pt idx="598">
                  <c:v>40046</c:v>
                </c:pt>
                <c:pt idx="599">
                  <c:v>40047</c:v>
                </c:pt>
                <c:pt idx="600">
                  <c:v>40048</c:v>
                </c:pt>
                <c:pt idx="601">
                  <c:v>40049</c:v>
                </c:pt>
                <c:pt idx="602">
                  <c:v>40050</c:v>
                </c:pt>
                <c:pt idx="603">
                  <c:v>40051</c:v>
                </c:pt>
                <c:pt idx="604">
                  <c:v>40052</c:v>
                </c:pt>
                <c:pt idx="605">
                  <c:v>40053</c:v>
                </c:pt>
                <c:pt idx="606">
                  <c:v>40054</c:v>
                </c:pt>
                <c:pt idx="607">
                  <c:v>40055</c:v>
                </c:pt>
                <c:pt idx="608">
                  <c:v>40056</c:v>
                </c:pt>
                <c:pt idx="609">
                  <c:v>40057</c:v>
                </c:pt>
                <c:pt idx="610">
                  <c:v>40058</c:v>
                </c:pt>
                <c:pt idx="611">
                  <c:v>40059</c:v>
                </c:pt>
                <c:pt idx="612">
                  <c:v>40060</c:v>
                </c:pt>
                <c:pt idx="613">
                  <c:v>40061</c:v>
                </c:pt>
                <c:pt idx="614">
                  <c:v>40062</c:v>
                </c:pt>
                <c:pt idx="615">
                  <c:v>40063</c:v>
                </c:pt>
                <c:pt idx="616">
                  <c:v>40064</c:v>
                </c:pt>
                <c:pt idx="617">
                  <c:v>40065</c:v>
                </c:pt>
                <c:pt idx="618">
                  <c:v>40066</c:v>
                </c:pt>
                <c:pt idx="619">
                  <c:v>40067</c:v>
                </c:pt>
                <c:pt idx="620">
                  <c:v>40068</c:v>
                </c:pt>
                <c:pt idx="621">
                  <c:v>40069</c:v>
                </c:pt>
                <c:pt idx="622">
                  <c:v>40070</c:v>
                </c:pt>
                <c:pt idx="623">
                  <c:v>40071</c:v>
                </c:pt>
                <c:pt idx="624">
                  <c:v>40072</c:v>
                </c:pt>
                <c:pt idx="625">
                  <c:v>40073</c:v>
                </c:pt>
                <c:pt idx="626">
                  <c:v>40074</c:v>
                </c:pt>
                <c:pt idx="627">
                  <c:v>40075</c:v>
                </c:pt>
                <c:pt idx="628">
                  <c:v>40076</c:v>
                </c:pt>
                <c:pt idx="629">
                  <c:v>40077</c:v>
                </c:pt>
                <c:pt idx="630">
                  <c:v>40078</c:v>
                </c:pt>
                <c:pt idx="631">
                  <c:v>40079</c:v>
                </c:pt>
                <c:pt idx="632">
                  <c:v>40080</c:v>
                </c:pt>
                <c:pt idx="633">
                  <c:v>40081</c:v>
                </c:pt>
                <c:pt idx="634">
                  <c:v>40082</c:v>
                </c:pt>
                <c:pt idx="635">
                  <c:v>40083</c:v>
                </c:pt>
                <c:pt idx="636">
                  <c:v>40084</c:v>
                </c:pt>
                <c:pt idx="637">
                  <c:v>40085</c:v>
                </c:pt>
                <c:pt idx="638">
                  <c:v>40086</c:v>
                </c:pt>
                <c:pt idx="639">
                  <c:v>40087</c:v>
                </c:pt>
                <c:pt idx="640">
                  <c:v>40088</c:v>
                </c:pt>
                <c:pt idx="641">
                  <c:v>40089</c:v>
                </c:pt>
                <c:pt idx="642">
                  <c:v>40090</c:v>
                </c:pt>
                <c:pt idx="643">
                  <c:v>40091</c:v>
                </c:pt>
                <c:pt idx="644">
                  <c:v>40092</c:v>
                </c:pt>
                <c:pt idx="645">
                  <c:v>40093</c:v>
                </c:pt>
                <c:pt idx="646">
                  <c:v>40094</c:v>
                </c:pt>
                <c:pt idx="647">
                  <c:v>40095</c:v>
                </c:pt>
                <c:pt idx="648">
                  <c:v>40096</c:v>
                </c:pt>
                <c:pt idx="649">
                  <c:v>40097</c:v>
                </c:pt>
                <c:pt idx="650">
                  <c:v>40098</c:v>
                </c:pt>
                <c:pt idx="651">
                  <c:v>40099</c:v>
                </c:pt>
                <c:pt idx="652">
                  <c:v>40100</c:v>
                </c:pt>
                <c:pt idx="653">
                  <c:v>40101</c:v>
                </c:pt>
                <c:pt idx="654">
                  <c:v>40102</c:v>
                </c:pt>
                <c:pt idx="655">
                  <c:v>40103</c:v>
                </c:pt>
                <c:pt idx="656">
                  <c:v>40104</c:v>
                </c:pt>
                <c:pt idx="657">
                  <c:v>40105</c:v>
                </c:pt>
                <c:pt idx="658">
                  <c:v>40106</c:v>
                </c:pt>
                <c:pt idx="659">
                  <c:v>40107</c:v>
                </c:pt>
                <c:pt idx="660">
                  <c:v>40108</c:v>
                </c:pt>
                <c:pt idx="661">
                  <c:v>40109</c:v>
                </c:pt>
                <c:pt idx="662">
                  <c:v>40110</c:v>
                </c:pt>
                <c:pt idx="663">
                  <c:v>40111</c:v>
                </c:pt>
                <c:pt idx="664">
                  <c:v>40112</c:v>
                </c:pt>
                <c:pt idx="665">
                  <c:v>40113</c:v>
                </c:pt>
                <c:pt idx="666">
                  <c:v>40114</c:v>
                </c:pt>
                <c:pt idx="667">
                  <c:v>40115</c:v>
                </c:pt>
                <c:pt idx="668">
                  <c:v>40116</c:v>
                </c:pt>
                <c:pt idx="669">
                  <c:v>40117</c:v>
                </c:pt>
                <c:pt idx="670">
                  <c:v>40118</c:v>
                </c:pt>
                <c:pt idx="671">
                  <c:v>40119</c:v>
                </c:pt>
                <c:pt idx="672">
                  <c:v>40120</c:v>
                </c:pt>
                <c:pt idx="673">
                  <c:v>40121</c:v>
                </c:pt>
                <c:pt idx="674">
                  <c:v>40122</c:v>
                </c:pt>
                <c:pt idx="675">
                  <c:v>40123</c:v>
                </c:pt>
                <c:pt idx="676">
                  <c:v>40124</c:v>
                </c:pt>
                <c:pt idx="677">
                  <c:v>40125</c:v>
                </c:pt>
                <c:pt idx="678">
                  <c:v>40126</c:v>
                </c:pt>
                <c:pt idx="679">
                  <c:v>40127</c:v>
                </c:pt>
                <c:pt idx="680">
                  <c:v>40128</c:v>
                </c:pt>
                <c:pt idx="681">
                  <c:v>40129</c:v>
                </c:pt>
                <c:pt idx="682">
                  <c:v>40130</c:v>
                </c:pt>
                <c:pt idx="683">
                  <c:v>40131</c:v>
                </c:pt>
                <c:pt idx="684">
                  <c:v>40132</c:v>
                </c:pt>
                <c:pt idx="685">
                  <c:v>40133</c:v>
                </c:pt>
                <c:pt idx="686">
                  <c:v>40134</c:v>
                </c:pt>
                <c:pt idx="687">
                  <c:v>40135</c:v>
                </c:pt>
                <c:pt idx="688">
                  <c:v>40136</c:v>
                </c:pt>
                <c:pt idx="689">
                  <c:v>40137</c:v>
                </c:pt>
                <c:pt idx="690">
                  <c:v>40138</c:v>
                </c:pt>
                <c:pt idx="691">
                  <c:v>40139</c:v>
                </c:pt>
                <c:pt idx="692">
                  <c:v>40140</c:v>
                </c:pt>
                <c:pt idx="693">
                  <c:v>40141</c:v>
                </c:pt>
                <c:pt idx="694">
                  <c:v>40142</c:v>
                </c:pt>
                <c:pt idx="695">
                  <c:v>40143</c:v>
                </c:pt>
                <c:pt idx="696">
                  <c:v>40144</c:v>
                </c:pt>
                <c:pt idx="697">
                  <c:v>40145</c:v>
                </c:pt>
                <c:pt idx="698">
                  <c:v>40146</c:v>
                </c:pt>
                <c:pt idx="699">
                  <c:v>40147</c:v>
                </c:pt>
                <c:pt idx="700">
                  <c:v>40148</c:v>
                </c:pt>
                <c:pt idx="701">
                  <c:v>40149</c:v>
                </c:pt>
                <c:pt idx="702">
                  <c:v>40150</c:v>
                </c:pt>
                <c:pt idx="703">
                  <c:v>40151</c:v>
                </c:pt>
                <c:pt idx="704">
                  <c:v>40152</c:v>
                </c:pt>
                <c:pt idx="705">
                  <c:v>40153</c:v>
                </c:pt>
                <c:pt idx="706">
                  <c:v>40154</c:v>
                </c:pt>
                <c:pt idx="707">
                  <c:v>40155</c:v>
                </c:pt>
                <c:pt idx="708">
                  <c:v>40156</c:v>
                </c:pt>
                <c:pt idx="709">
                  <c:v>40157</c:v>
                </c:pt>
                <c:pt idx="710">
                  <c:v>40158</c:v>
                </c:pt>
                <c:pt idx="711">
                  <c:v>40159</c:v>
                </c:pt>
                <c:pt idx="712">
                  <c:v>40160</c:v>
                </c:pt>
                <c:pt idx="713">
                  <c:v>40161</c:v>
                </c:pt>
                <c:pt idx="714">
                  <c:v>40162</c:v>
                </c:pt>
                <c:pt idx="715">
                  <c:v>40163</c:v>
                </c:pt>
                <c:pt idx="716">
                  <c:v>40164</c:v>
                </c:pt>
                <c:pt idx="717">
                  <c:v>40165</c:v>
                </c:pt>
                <c:pt idx="718">
                  <c:v>40166</c:v>
                </c:pt>
                <c:pt idx="719">
                  <c:v>40167</c:v>
                </c:pt>
                <c:pt idx="720">
                  <c:v>40168</c:v>
                </c:pt>
                <c:pt idx="721">
                  <c:v>40169</c:v>
                </c:pt>
                <c:pt idx="722">
                  <c:v>40170</c:v>
                </c:pt>
                <c:pt idx="723">
                  <c:v>40171</c:v>
                </c:pt>
                <c:pt idx="724">
                  <c:v>40172</c:v>
                </c:pt>
                <c:pt idx="725">
                  <c:v>40173</c:v>
                </c:pt>
                <c:pt idx="726">
                  <c:v>40174</c:v>
                </c:pt>
                <c:pt idx="727">
                  <c:v>40175</c:v>
                </c:pt>
                <c:pt idx="728">
                  <c:v>40176</c:v>
                </c:pt>
                <c:pt idx="729">
                  <c:v>40177</c:v>
                </c:pt>
                <c:pt idx="730">
                  <c:v>40178</c:v>
                </c:pt>
                <c:pt idx="731">
                  <c:v>40179</c:v>
                </c:pt>
                <c:pt idx="732">
                  <c:v>40180</c:v>
                </c:pt>
                <c:pt idx="733">
                  <c:v>40181</c:v>
                </c:pt>
                <c:pt idx="734">
                  <c:v>40182</c:v>
                </c:pt>
                <c:pt idx="735">
                  <c:v>40183</c:v>
                </c:pt>
                <c:pt idx="736">
                  <c:v>40184</c:v>
                </c:pt>
                <c:pt idx="737">
                  <c:v>40185</c:v>
                </c:pt>
                <c:pt idx="738">
                  <c:v>40186</c:v>
                </c:pt>
                <c:pt idx="739">
                  <c:v>40187</c:v>
                </c:pt>
                <c:pt idx="740">
                  <c:v>40188</c:v>
                </c:pt>
                <c:pt idx="741">
                  <c:v>40189</c:v>
                </c:pt>
                <c:pt idx="742">
                  <c:v>40190</c:v>
                </c:pt>
                <c:pt idx="743">
                  <c:v>40191</c:v>
                </c:pt>
                <c:pt idx="744">
                  <c:v>40192</c:v>
                </c:pt>
                <c:pt idx="745">
                  <c:v>40193</c:v>
                </c:pt>
                <c:pt idx="746">
                  <c:v>40194</c:v>
                </c:pt>
                <c:pt idx="747">
                  <c:v>40195</c:v>
                </c:pt>
                <c:pt idx="748">
                  <c:v>40196</c:v>
                </c:pt>
                <c:pt idx="749">
                  <c:v>40197</c:v>
                </c:pt>
                <c:pt idx="750">
                  <c:v>40198</c:v>
                </c:pt>
                <c:pt idx="751">
                  <c:v>40199</c:v>
                </c:pt>
                <c:pt idx="752">
                  <c:v>40200</c:v>
                </c:pt>
                <c:pt idx="753">
                  <c:v>40201</c:v>
                </c:pt>
                <c:pt idx="754">
                  <c:v>40202</c:v>
                </c:pt>
                <c:pt idx="755">
                  <c:v>40203</c:v>
                </c:pt>
                <c:pt idx="756">
                  <c:v>40204</c:v>
                </c:pt>
                <c:pt idx="757">
                  <c:v>40205</c:v>
                </c:pt>
                <c:pt idx="758">
                  <c:v>40206</c:v>
                </c:pt>
                <c:pt idx="759">
                  <c:v>40207</c:v>
                </c:pt>
                <c:pt idx="760">
                  <c:v>40208</c:v>
                </c:pt>
                <c:pt idx="761">
                  <c:v>40209</c:v>
                </c:pt>
                <c:pt idx="762">
                  <c:v>40210</c:v>
                </c:pt>
                <c:pt idx="763">
                  <c:v>40211</c:v>
                </c:pt>
                <c:pt idx="764">
                  <c:v>40212</c:v>
                </c:pt>
                <c:pt idx="765">
                  <c:v>40213</c:v>
                </c:pt>
                <c:pt idx="766">
                  <c:v>40214</c:v>
                </c:pt>
                <c:pt idx="767">
                  <c:v>40215</c:v>
                </c:pt>
                <c:pt idx="768">
                  <c:v>40216</c:v>
                </c:pt>
                <c:pt idx="769">
                  <c:v>40217</c:v>
                </c:pt>
                <c:pt idx="770">
                  <c:v>40218</c:v>
                </c:pt>
                <c:pt idx="771">
                  <c:v>40219</c:v>
                </c:pt>
                <c:pt idx="772">
                  <c:v>40220</c:v>
                </c:pt>
                <c:pt idx="773">
                  <c:v>40221</c:v>
                </c:pt>
                <c:pt idx="774">
                  <c:v>40222</c:v>
                </c:pt>
                <c:pt idx="775">
                  <c:v>40223</c:v>
                </c:pt>
                <c:pt idx="776">
                  <c:v>40224</c:v>
                </c:pt>
                <c:pt idx="777">
                  <c:v>40225</c:v>
                </c:pt>
                <c:pt idx="778">
                  <c:v>40226</c:v>
                </c:pt>
                <c:pt idx="779">
                  <c:v>40227</c:v>
                </c:pt>
                <c:pt idx="780">
                  <c:v>40228</c:v>
                </c:pt>
                <c:pt idx="781">
                  <c:v>40229</c:v>
                </c:pt>
                <c:pt idx="782">
                  <c:v>40230</c:v>
                </c:pt>
                <c:pt idx="783">
                  <c:v>40231</c:v>
                </c:pt>
                <c:pt idx="784">
                  <c:v>40232</c:v>
                </c:pt>
                <c:pt idx="785">
                  <c:v>40233</c:v>
                </c:pt>
                <c:pt idx="786">
                  <c:v>40234</c:v>
                </c:pt>
                <c:pt idx="787">
                  <c:v>40235</c:v>
                </c:pt>
                <c:pt idx="788">
                  <c:v>40236</c:v>
                </c:pt>
                <c:pt idx="789">
                  <c:v>40237</c:v>
                </c:pt>
                <c:pt idx="790">
                  <c:v>40238</c:v>
                </c:pt>
                <c:pt idx="791">
                  <c:v>40239</c:v>
                </c:pt>
                <c:pt idx="792">
                  <c:v>40240</c:v>
                </c:pt>
                <c:pt idx="793">
                  <c:v>40241</c:v>
                </c:pt>
                <c:pt idx="794">
                  <c:v>40242</c:v>
                </c:pt>
                <c:pt idx="795">
                  <c:v>40243</c:v>
                </c:pt>
                <c:pt idx="796">
                  <c:v>40244</c:v>
                </c:pt>
                <c:pt idx="797">
                  <c:v>40245</c:v>
                </c:pt>
                <c:pt idx="798">
                  <c:v>40246</c:v>
                </c:pt>
                <c:pt idx="799">
                  <c:v>40247</c:v>
                </c:pt>
                <c:pt idx="800">
                  <c:v>40248</c:v>
                </c:pt>
                <c:pt idx="801">
                  <c:v>40249</c:v>
                </c:pt>
                <c:pt idx="802">
                  <c:v>40250</c:v>
                </c:pt>
                <c:pt idx="803">
                  <c:v>40251</c:v>
                </c:pt>
                <c:pt idx="804">
                  <c:v>40252</c:v>
                </c:pt>
                <c:pt idx="805">
                  <c:v>40253</c:v>
                </c:pt>
                <c:pt idx="806">
                  <c:v>40254</c:v>
                </c:pt>
                <c:pt idx="807">
                  <c:v>40255</c:v>
                </c:pt>
                <c:pt idx="808">
                  <c:v>40256</c:v>
                </c:pt>
                <c:pt idx="809">
                  <c:v>40257</c:v>
                </c:pt>
                <c:pt idx="810">
                  <c:v>40258</c:v>
                </c:pt>
                <c:pt idx="811">
                  <c:v>40259</c:v>
                </c:pt>
                <c:pt idx="812">
                  <c:v>40260</c:v>
                </c:pt>
                <c:pt idx="813">
                  <c:v>40261</c:v>
                </c:pt>
                <c:pt idx="814">
                  <c:v>40262</c:v>
                </c:pt>
                <c:pt idx="815">
                  <c:v>40263</c:v>
                </c:pt>
                <c:pt idx="816">
                  <c:v>40264</c:v>
                </c:pt>
                <c:pt idx="817">
                  <c:v>40265</c:v>
                </c:pt>
                <c:pt idx="818">
                  <c:v>40266</c:v>
                </c:pt>
                <c:pt idx="819">
                  <c:v>40267</c:v>
                </c:pt>
                <c:pt idx="820">
                  <c:v>40268</c:v>
                </c:pt>
                <c:pt idx="821">
                  <c:v>40269</c:v>
                </c:pt>
                <c:pt idx="822">
                  <c:v>40270</c:v>
                </c:pt>
                <c:pt idx="823">
                  <c:v>40271</c:v>
                </c:pt>
                <c:pt idx="824">
                  <c:v>40272</c:v>
                </c:pt>
                <c:pt idx="825">
                  <c:v>40273</c:v>
                </c:pt>
                <c:pt idx="826">
                  <c:v>40274</c:v>
                </c:pt>
                <c:pt idx="827">
                  <c:v>40275</c:v>
                </c:pt>
                <c:pt idx="828">
                  <c:v>40276</c:v>
                </c:pt>
                <c:pt idx="829">
                  <c:v>40277</c:v>
                </c:pt>
                <c:pt idx="830">
                  <c:v>40278</c:v>
                </c:pt>
                <c:pt idx="831">
                  <c:v>40279</c:v>
                </c:pt>
                <c:pt idx="832">
                  <c:v>40280</c:v>
                </c:pt>
                <c:pt idx="833">
                  <c:v>40281</c:v>
                </c:pt>
                <c:pt idx="834">
                  <c:v>40282</c:v>
                </c:pt>
                <c:pt idx="835">
                  <c:v>40283</c:v>
                </c:pt>
                <c:pt idx="836">
                  <c:v>40284</c:v>
                </c:pt>
                <c:pt idx="837">
                  <c:v>40285</c:v>
                </c:pt>
                <c:pt idx="838">
                  <c:v>40286</c:v>
                </c:pt>
                <c:pt idx="839">
                  <c:v>40287</c:v>
                </c:pt>
                <c:pt idx="840">
                  <c:v>40288</c:v>
                </c:pt>
                <c:pt idx="841">
                  <c:v>40289</c:v>
                </c:pt>
                <c:pt idx="842">
                  <c:v>40290</c:v>
                </c:pt>
                <c:pt idx="843">
                  <c:v>40291</c:v>
                </c:pt>
                <c:pt idx="844">
                  <c:v>40292</c:v>
                </c:pt>
                <c:pt idx="845">
                  <c:v>40293</c:v>
                </c:pt>
                <c:pt idx="846">
                  <c:v>40294</c:v>
                </c:pt>
                <c:pt idx="847">
                  <c:v>40295</c:v>
                </c:pt>
                <c:pt idx="848">
                  <c:v>40296</c:v>
                </c:pt>
                <c:pt idx="849">
                  <c:v>40297</c:v>
                </c:pt>
                <c:pt idx="850">
                  <c:v>40298</c:v>
                </c:pt>
                <c:pt idx="851">
                  <c:v>40299</c:v>
                </c:pt>
                <c:pt idx="852">
                  <c:v>40300</c:v>
                </c:pt>
                <c:pt idx="853">
                  <c:v>40301</c:v>
                </c:pt>
                <c:pt idx="854">
                  <c:v>40302</c:v>
                </c:pt>
                <c:pt idx="855">
                  <c:v>40303</c:v>
                </c:pt>
                <c:pt idx="856">
                  <c:v>40304</c:v>
                </c:pt>
                <c:pt idx="857">
                  <c:v>40305</c:v>
                </c:pt>
                <c:pt idx="858">
                  <c:v>40306</c:v>
                </c:pt>
                <c:pt idx="859">
                  <c:v>40307</c:v>
                </c:pt>
                <c:pt idx="860">
                  <c:v>40308</c:v>
                </c:pt>
                <c:pt idx="861">
                  <c:v>40309</c:v>
                </c:pt>
                <c:pt idx="862">
                  <c:v>40310</c:v>
                </c:pt>
                <c:pt idx="863">
                  <c:v>40311</c:v>
                </c:pt>
                <c:pt idx="864">
                  <c:v>40312</c:v>
                </c:pt>
                <c:pt idx="865">
                  <c:v>40313</c:v>
                </c:pt>
                <c:pt idx="866">
                  <c:v>40314</c:v>
                </c:pt>
                <c:pt idx="867">
                  <c:v>40315</c:v>
                </c:pt>
                <c:pt idx="868">
                  <c:v>40316</c:v>
                </c:pt>
                <c:pt idx="869">
                  <c:v>40317</c:v>
                </c:pt>
                <c:pt idx="870">
                  <c:v>40318</c:v>
                </c:pt>
                <c:pt idx="871">
                  <c:v>40319</c:v>
                </c:pt>
                <c:pt idx="872">
                  <c:v>40320</c:v>
                </c:pt>
                <c:pt idx="873">
                  <c:v>40321</c:v>
                </c:pt>
                <c:pt idx="874">
                  <c:v>40322</c:v>
                </c:pt>
                <c:pt idx="875">
                  <c:v>40323</c:v>
                </c:pt>
                <c:pt idx="876">
                  <c:v>40324</c:v>
                </c:pt>
                <c:pt idx="877">
                  <c:v>40325</c:v>
                </c:pt>
                <c:pt idx="878">
                  <c:v>40326</c:v>
                </c:pt>
                <c:pt idx="879">
                  <c:v>40327</c:v>
                </c:pt>
                <c:pt idx="880">
                  <c:v>40328</c:v>
                </c:pt>
                <c:pt idx="881">
                  <c:v>40329</c:v>
                </c:pt>
                <c:pt idx="882">
                  <c:v>40330</c:v>
                </c:pt>
                <c:pt idx="883">
                  <c:v>40331</c:v>
                </c:pt>
                <c:pt idx="884">
                  <c:v>40332</c:v>
                </c:pt>
                <c:pt idx="885">
                  <c:v>40333</c:v>
                </c:pt>
                <c:pt idx="886">
                  <c:v>40334</c:v>
                </c:pt>
                <c:pt idx="887">
                  <c:v>40335</c:v>
                </c:pt>
                <c:pt idx="888">
                  <c:v>40336</c:v>
                </c:pt>
                <c:pt idx="889">
                  <c:v>40337</c:v>
                </c:pt>
                <c:pt idx="890">
                  <c:v>40338</c:v>
                </c:pt>
                <c:pt idx="891">
                  <c:v>40339</c:v>
                </c:pt>
                <c:pt idx="892">
                  <c:v>40340</c:v>
                </c:pt>
                <c:pt idx="893">
                  <c:v>40341</c:v>
                </c:pt>
                <c:pt idx="894">
                  <c:v>40342</c:v>
                </c:pt>
                <c:pt idx="895">
                  <c:v>40343</c:v>
                </c:pt>
                <c:pt idx="896">
                  <c:v>40344</c:v>
                </c:pt>
                <c:pt idx="897">
                  <c:v>40345</c:v>
                </c:pt>
                <c:pt idx="898">
                  <c:v>40346</c:v>
                </c:pt>
                <c:pt idx="899">
                  <c:v>40347</c:v>
                </c:pt>
                <c:pt idx="900">
                  <c:v>40348</c:v>
                </c:pt>
                <c:pt idx="901">
                  <c:v>40349</c:v>
                </c:pt>
                <c:pt idx="902">
                  <c:v>40350</c:v>
                </c:pt>
                <c:pt idx="903">
                  <c:v>40351</c:v>
                </c:pt>
                <c:pt idx="904">
                  <c:v>40352</c:v>
                </c:pt>
                <c:pt idx="905">
                  <c:v>40353</c:v>
                </c:pt>
                <c:pt idx="906">
                  <c:v>40354</c:v>
                </c:pt>
                <c:pt idx="907">
                  <c:v>40355</c:v>
                </c:pt>
                <c:pt idx="908">
                  <c:v>40356</c:v>
                </c:pt>
                <c:pt idx="909">
                  <c:v>40357</c:v>
                </c:pt>
                <c:pt idx="910">
                  <c:v>40358</c:v>
                </c:pt>
                <c:pt idx="911">
                  <c:v>40359</c:v>
                </c:pt>
                <c:pt idx="912">
                  <c:v>40360</c:v>
                </c:pt>
                <c:pt idx="913">
                  <c:v>40361</c:v>
                </c:pt>
                <c:pt idx="914">
                  <c:v>40362</c:v>
                </c:pt>
                <c:pt idx="915">
                  <c:v>40363</c:v>
                </c:pt>
                <c:pt idx="916">
                  <c:v>40364</c:v>
                </c:pt>
                <c:pt idx="917">
                  <c:v>40365</c:v>
                </c:pt>
                <c:pt idx="918">
                  <c:v>40366</c:v>
                </c:pt>
                <c:pt idx="919">
                  <c:v>40367</c:v>
                </c:pt>
                <c:pt idx="920">
                  <c:v>40368</c:v>
                </c:pt>
                <c:pt idx="921">
                  <c:v>40369</c:v>
                </c:pt>
                <c:pt idx="922">
                  <c:v>40370</c:v>
                </c:pt>
                <c:pt idx="923">
                  <c:v>40371</c:v>
                </c:pt>
                <c:pt idx="924">
                  <c:v>40372</c:v>
                </c:pt>
                <c:pt idx="925">
                  <c:v>40373</c:v>
                </c:pt>
                <c:pt idx="926">
                  <c:v>40374</c:v>
                </c:pt>
                <c:pt idx="927">
                  <c:v>40375</c:v>
                </c:pt>
                <c:pt idx="928">
                  <c:v>40376</c:v>
                </c:pt>
                <c:pt idx="929">
                  <c:v>40377</c:v>
                </c:pt>
                <c:pt idx="930">
                  <c:v>40378</c:v>
                </c:pt>
                <c:pt idx="931">
                  <c:v>40379</c:v>
                </c:pt>
                <c:pt idx="932">
                  <c:v>40380</c:v>
                </c:pt>
                <c:pt idx="933">
                  <c:v>40381</c:v>
                </c:pt>
                <c:pt idx="934">
                  <c:v>40382</c:v>
                </c:pt>
                <c:pt idx="935">
                  <c:v>40383</c:v>
                </c:pt>
                <c:pt idx="936">
                  <c:v>40384</c:v>
                </c:pt>
                <c:pt idx="937">
                  <c:v>40385</c:v>
                </c:pt>
                <c:pt idx="938">
                  <c:v>40386</c:v>
                </c:pt>
                <c:pt idx="939">
                  <c:v>40387</c:v>
                </c:pt>
                <c:pt idx="940">
                  <c:v>40388</c:v>
                </c:pt>
                <c:pt idx="941">
                  <c:v>40389</c:v>
                </c:pt>
                <c:pt idx="942">
                  <c:v>40390</c:v>
                </c:pt>
                <c:pt idx="943">
                  <c:v>40391</c:v>
                </c:pt>
                <c:pt idx="944">
                  <c:v>40392</c:v>
                </c:pt>
                <c:pt idx="945">
                  <c:v>40393</c:v>
                </c:pt>
                <c:pt idx="946">
                  <c:v>40394</c:v>
                </c:pt>
                <c:pt idx="947">
                  <c:v>40395</c:v>
                </c:pt>
                <c:pt idx="948">
                  <c:v>40396</c:v>
                </c:pt>
                <c:pt idx="949">
                  <c:v>40397</c:v>
                </c:pt>
                <c:pt idx="950">
                  <c:v>40398</c:v>
                </c:pt>
                <c:pt idx="951">
                  <c:v>40399</c:v>
                </c:pt>
                <c:pt idx="952">
                  <c:v>40400</c:v>
                </c:pt>
                <c:pt idx="953">
                  <c:v>40401</c:v>
                </c:pt>
                <c:pt idx="954">
                  <c:v>40402</c:v>
                </c:pt>
                <c:pt idx="955">
                  <c:v>40403</c:v>
                </c:pt>
                <c:pt idx="956">
                  <c:v>40404</c:v>
                </c:pt>
                <c:pt idx="957">
                  <c:v>40405</c:v>
                </c:pt>
                <c:pt idx="958">
                  <c:v>40406</c:v>
                </c:pt>
                <c:pt idx="959">
                  <c:v>40407</c:v>
                </c:pt>
                <c:pt idx="960">
                  <c:v>40408</c:v>
                </c:pt>
                <c:pt idx="961">
                  <c:v>40409</c:v>
                </c:pt>
                <c:pt idx="962">
                  <c:v>40410</c:v>
                </c:pt>
                <c:pt idx="963">
                  <c:v>40411</c:v>
                </c:pt>
                <c:pt idx="964">
                  <c:v>40412</c:v>
                </c:pt>
                <c:pt idx="965">
                  <c:v>40413</c:v>
                </c:pt>
                <c:pt idx="966">
                  <c:v>40414</c:v>
                </c:pt>
                <c:pt idx="967">
                  <c:v>40415</c:v>
                </c:pt>
                <c:pt idx="968">
                  <c:v>40416</c:v>
                </c:pt>
                <c:pt idx="969">
                  <c:v>40417</c:v>
                </c:pt>
                <c:pt idx="970">
                  <c:v>40418</c:v>
                </c:pt>
                <c:pt idx="971">
                  <c:v>40419</c:v>
                </c:pt>
                <c:pt idx="972">
                  <c:v>40420</c:v>
                </c:pt>
                <c:pt idx="973">
                  <c:v>40421</c:v>
                </c:pt>
                <c:pt idx="974">
                  <c:v>40422</c:v>
                </c:pt>
                <c:pt idx="975">
                  <c:v>40423</c:v>
                </c:pt>
                <c:pt idx="976">
                  <c:v>40424</c:v>
                </c:pt>
                <c:pt idx="977">
                  <c:v>40425</c:v>
                </c:pt>
                <c:pt idx="978">
                  <c:v>40426</c:v>
                </c:pt>
                <c:pt idx="979">
                  <c:v>40427</c:v>
                </c:pt>
                <c:pt idx="980">
                  <c:v>40428</c:v>
                </c:pt>
                <c:pt idx="981">
                  <c:v>40429</c:v>
                </c:pt>
                <c:pt idx="982">
                  <c:v>40430</c:v>
                </c:pt>
                <c:pt idx="983">
                  <c:v>40431</c:v>
                </c:pt>
                <c:pt idx="984">
                  <c:v>40432</c:v>
                </c:pt>
                <c:pt idx="985">
                  <c:v>40433</c:v>
                </c:pt>
                <c:pt idx="986">
                  <c:v>40434</c:v>
                </c:pt>
                <c:pt idx="987">
                  <c:v>40435</c:v>
                </c:pt>
                <c:pt idx="988">
                  <c:v>40436</c:v>
                </c:pt>
                <c:pt idx="989">
                  <c:v>40437</c:v>
                </c:pt>
                <c:pt idx="990">
                  <c:v>40438</c:v>
                </c:pt>
                <c:pt idx="991">
                  <c:v>40439</c:v>
                </c:pt>
                <c:pt idx="992">
                  <c:v>40440</c:v>
                </c:pt>
                <c:pt idx="993">
                  <c:v>40441</c:v>
                </c:pt>
                <c:pt idx="994">
                  <c:v>40442</c:v>
                </c:pt>
                <c:pt idx="995">
                  <c:v>40443</c:v>
                </c:pt>
                <c:pt idx="996">
                  <c:v>40444</c:v>
                </c:pt>
                <c:pt idx="997">
                  <c:v>40445</c:v>
                </c:pt>
                <c:pt idx="998">
                  <c:v>40446</c:v>
                </c:pt>
                <c:pt idx="999">
                  <c:v>40447</c:v>
                </c:pt>
                <c:pt idx="1000">
                  <c:v>40448</c:v>
                </c:pt>
                <c:pt idx="1001">
                  <c:v>40449</c:v>
                </c:pt>
                <c:pt idx="1002">
                  <c:v>40450</c:v>
                </c:pt>
                <c:pt idx="1003">
                  <c:v>40451</c:v>
                </c:pt>
                <c:pt idx="1004">
                  <c:v>40452</c:v>
                </c:pt>
                <c:pt idx="1005">
                  <c:v>40453</c:v>
                </c:pt>
                <c:pt idx="1006">
                  <c:v>40454</c:v>
                </c:pt>
                <c:pt idx="1007">
                  <c:v>40455</c:v>
                </c:pt>
                <c:pt idx="1008">
                  <c:v>40456</c:v>
                </c:pt>
                <c:pt idx="1009">
                  <c:v>40457</c:v>
                </c:pt>
                <c:pt idx="1010">
                  <c:v>40458</c:v>
                </c:pt>
                <c:pt idx="1011">
                  <c:v>40459</c:v>
                </c:pt>
                <c:pt idx="1012">
                  <c:v>40460</c:v>
                </c:pt>
                <c:pt idx="1013">
                  <c:v>40461</c:v>
                </c:pt>
                <c:pt idx="1014">
                  <c:v>40462</c:v>
                </c:pt>
                <c:pt idx="1015">
                  <c:v>40463</c:v>
                </c:pt>
                <c:pt idx="1016">
                  <c:v>40464</c:v>
                </c:pt>
                <c:pt idx="1017">
                  <c:v>40465</c:v>
                </c:pt>
                <c:pt idx="1018">
                  <c:v>40466</c:v>
                </c:pt>
                <c:pt idx="1019">
                  <c:v>40467</c:v>
                </c:pt>
                <c:pt idx="1020">
                  <c:v>40468</c:v>
                </c:pt>
                <c:pt idx="1021">
                  <c:v>40469</c:v>
                </c:pt>
                <c:pt idx="1022">
                  <c:v>40470</c:v>
                </c:pt>
                <c:pt idx="1023">
                  <c:v>40471</c:v>
                </c:pt>
                <c:pt idx="1024">
                  <c:v>40472</c:v>
                </c:pt>
                <c:pt idx="1025">
                  <c:v>40473</c:v>
                </c:pt>
                <c:pt idx="1026">
                  <c:v>40474</c:v>
                </c:pt>
                <c:pt idx="1027">
                  <c:v>40475</c:v>
                </c:pt>
                <c:pt idx="1028">
                  <c:v>40476</c:v>
                </c:pt>
                <c:pt idx="1029">
                  <c:v>40477</c:v>
                </c:pt>
                <c:pt idx="1030">
                  <c:v>40478</c:v>
                </c:pt>
                <c:pt idx="1031">
                  <c:v>40479</c:v>
                </c:pt>
                <c:pt idx="1032">
                  <c:v>40480</c:v>
                </c:pt>
                <c:pt idx="1033">
                  <c:v>40481</c:v>
                </c:pt>
                <c:pt idx="1034">
                  <c:v>40482</c:v>
                </c:pt>
                <c:pt idx="1035">
                  <c:v>40483</c:v>
                </c:pt>
                <c:pt idx="1036">
                  <c:v>40484</c:v>
                </c:pt>
                <c:pt idx="1037">
                  <c:v>40485</c:v>
                </c:pt>
                <c:pt idx="1038">
                  <c:v>40486</c:v>
                </c:pt>
                <c:pt idx="1039">
                  <c:v>40487</c:v>
                </c:pt>
                <c:pt idx="1040">
                  <c:v>40488</c:v>
                </c:pt>
                <c:pt idx="1041">
                  <c:v>40489</c:v>
                </c:pt>
                <c:pt idx="1042">
                  <c:v>40490</c:v>
                </c:pt>
                <c:pt idx="1043">
                  <c:v>40491</c:v>
                </c:pt>
                <c:pt idx="1044">
                  <c:v>40492</c:v>
                </c:pt>
                <c:pt idx="1045">
                  <c:v>40493</c:v>
                </c:pt>
                <c:pt idx="1046">
                  <c:v>40494</c:v>
                </c:pt>
                <c:pt idx="1047">
                  <c:v>40495</c:v>
                </c:pt>
                <c:pt idx="1048">
                  <c:v>40496</c:v>
                </c:pt>
                <c:pt idx="1049">
                  <c:v>40497</c:v>
                </c:pt>
                <c:pt idx="1050">
                  <c:v>40498</c:v>
                </c:pt>
                <c:pt idx="1051">
                  <c:v>40499</c:v>
                </c:pt>
                <c:pt idx="1052">
                  <c:v>40500</c:v>
                </c:pt>
                <c:pt idx="1053">
                  <c:v>40501</c:v>
                </c:pt>
                <c:pt idx="1054">
                  <c:v>40502</c:v>
                </c:pt>
                <c:pt idx="1055">
                  <c:v>40503</c:v>
                </c:pt>
                <c:pt idx="1056">
                  <c:v>40504</c:v>
                </c:pt>
                <c:pt idx="1057">
                  <c:v>40505</c:v>
                </c:pt>
                <c:pt idx="1058">
                  <c:v>40506</c:v>
                </c:pt>
                <c:pt idx="1059">
                  <c:v>40507</c:v>
                </c:pt>
                <c:pt idx="1060">
                  <c:v>40508</c:v>
                </c:pt>
                <c:pt idx="1061">
                  <c:v>40509</c:v>
                </c:pt>
                <c:pt idx="1062">
                  <c:v>40510</c:v>
                </c:pt>
                <c:pt idx="1063">
                  <c:v>40511</c:v>
                </c:pt>
                <c:pt idx="1064">
                  <c:v>40512</c:v>
                </c:pt>
                <c:pt idx="1065">
                  <c:v>40513</c:v>
                </c:pt>
                <c:pt idx="1066">
                  <c:v>40514</c:v>
                </c:pt>
                <c:pt idx="1067">
                  <c:v>40515</c:v>
                </c:pt>
                <c:pt idx="1068">
                  <c:v>40516</c:v>
                </c:pt>
                <c:pt idx="1069">
                  <c:v>40517</c:v>
                </c:pt>
                <c:pt idx="1070">
                  <c:v>40518</c:v>
                </c:pt>
                <c:pt idx="1071">
                  <c:v>40519</c:v>
                </c:pt>
                <c:pt idx="1072">
                  <c:v>40520</c:v>
                </c:pt>
                <c:pt idx="1073">
                  <c:v>40521</c:v>
                </c:pt>
                <c:pt idx="1074">
                  <c:v>40522</c:v>
                </c:pt>
                <c:pt idx="1075">
                  <c:v>40523</c:v>
                </c:pt>
                <c:pt idx="1076">
                  <c:v>40524</c:v>
                </c:pt>
                <c:pt idx="1077">
                  <c:v>40525</c:v>
                </c:pt>
                <c:pt idx="1078">
                  <c:v>40526</c:v>
                </c:pt>
                <c:pt idx="1079">
                  <c:v>40527</c:v>
                </c:pt>
                <c:pt idx="1080">
                  <c:v>40528</c:v>
                </c:pt>
                <c:pt idx="1081">
                  <c:v>40529</c:v>
                </c:pt>
                <c:pt idx="1082">
                  <c:v>40530</c:v>
                </c:pt>
                <c:pt idx="1083">
                  <c:v>40531</c:v>
                </c:pt>
                <c:pt idx="1084">
                  <c:v>40532</c:v>
                </c:pt>
                <c:pt idx="1085">
                  <c:v>40533</c:v>
                </c:pt>
                <c:pt idx="1086">
                  <c:v>40534</c:v>
                </c:pt>
                <c:pt idx="1087">
                  <c:v>40535</c:v>
                </c:pt>
                <c:pt idx="1088">
                  <c:v>40536</c:v>
                </c:pt>
                <c:pt idx="1089">
                  <c:v>40537</c:v>
                </c:pt>
                <c:pt idx="1090">
                  <c:v>40538</c:v>
                </c:pt>
                <c:pt idx="1091">
                  <c:v>40539</c:v>
                </c:pt>
                <c:pt idx="1092">
                  <c:v>40540</c:v>
                </c:pt>
                <c:pt idx="1093">
                  <c:v>40541</c:v>
                </c:pt>
                <c:pt idx="1094">
                  <c:v>40542</c:v>
                </c:pt>
                <c:pt idx="1095">
                  <c:v>40543</c:v>
                </c:pt>
                <c:pt idx="1096">
                  <c:v>40544</c:v>
                </c:pt>
                <c:pt idx="1097">
                  <c:v>40545</c:v>
                </c:pt>
                <c:pt idx="1098">
                  <c:v>40546</c:v>
                </c:pt>
                <c:pt idx="1099">
                  <c:v>40547</c:v>
                </c:pt>
                <c:pt idx="1100">
                  <c:v>40548</c:v>
                </c:pt>
                <c:pt idx="1101">
                  <c:v>40549</c:v>
                </c:pt>
                <c:pt idx="1102">
                  <c:v>40550</c:v>
                </c:pt>
                <c:pt idx="1103">
                  <c:v>40551</c:v>
                </c:pt>
                <c:pt idx="1104">
                  <c:v>40552</c:v>
                </c:pt>
                <c:pt idx="1105">
                  <c:v>40553</c:v>
                </c:pt>
                <c:pt idx="1106">
                  <c:v>40554</c:v>
                </c:pt>
                <c:pt idx="1107">
                  <c:v>40555</c:v>
                </c:pt>
                <c:pt idx="1108">
                  <c:v>40556</c:v>
                </c:pt>
                <c:pt idx="1109">
                  <c:v>40557</c:v>
                </c:pt>
                <c:pt idx="1110">
                  <c:v>40558</c:v>
                </c:pt>
                <c:pt idx="1111">
                  <c:v>40559</c:v>
                </c:pt>
                <c:pt idx="1112">
                  <c:v>40560</c:v>
                </c:pt>
                <c:pt idx="1113">
                  <c:v>40561</c:v>
                </c:pt>
                <c:pt idx="1114">
                  <c:v>40562</c:v>
                </c:pt>
                <c:pt idx="1115">
                  <c:v>40563</c:v>
                </c:pt>
                <c:pt idx="1116">
                  <c:v>40564</c:v>
                </c:pt>
                <c:pt idx="1117">
                  <c:v>40565</c:v>
                </c:pt>
                <c:pt idx="1118">
                  <c:v>40566</c:v>
                </c:pt>
                <c:pt idx="1119">
                  <c:v>40567</c:v>
                </c:pt>
                <c:pt idx="1120">
                  <c:v>40568</c:v>
                </c:pt>
                <c:pt idx="1121">
                  <c:v>40569</c:v>
                </c:pt>
                <c:pt idx="1122">
                  <c:v>40570</c:v>
                </c:pt>
                <c:pt idx="1123">
                  <c:v>40571</c:v>
                </c:pt>
                <c:pt idx="1124">
                  <c:v>40572</c:v>
                </c:pt>
                <c:pt idx="1125">
                  <c:v>40573</c:v>
                </c:pt>
                <c:pt idx="1126">
                  <c:v>40574</c:v>
                </c:pt>
                <c:pt idx="1127">
                  <c:v>40575</c:v>
                </c:pt>
                <c:pt idx="1128">
                  <c:v>40576</c:v>
                </c:pt>
                <c:pt idx="1129">
                  <c:v>40577</c:v>
                </c:pt>
                <c:pt idx="1130">
                  <c:v>40578</c:v>
                </c:pt>
                <c:pt idx="1131">
                  <c:v>40579</c:v>
                </c:pt>
                <c:pt idx="1132">
                  <c:v>40580</c:v>
                </c:pt>
                <c:pt idx="1133">
                  <c:v>40581</c:v>
                </c:pt>
                <c:pt idx="1134">
                  <c:v>40582</c:v>
                </c:pt>
                <c:pt idx="1135">
                  <c:v>40583</c:v>
                </c:pt>
                <c:pt idx="1136">
                  <c:v>40584</c:v>
                </c:pt>
                <c:pt idx="1137">
                  <c:v>40585</c:v>
                </c:pt>
                <c:pt idx="1138">
                  <c:v>40586</c:v>
                </c:pt>
                <c:pt idx="1139">
                  <c:v>40587</c:v>
                </c:pt>
                <c:pt idx="1140">
                  <c:v>40588</c:v>
                </c:pt>
                <c:pt idx="1141">
                  <c:v>40589</c:v>
                </c:pt>
                <c:pt idx="1142">
                  <c:v>40590</c:v>
                </c:pt>
                <c:pt idx="1143">
                  <c:v>40591</c:v>
                </c:pt>
                <c:pt idx="1144">
                  <c:v>40592</c:v>
                </c:pt>
                <c:pt idx="1145">
                  <c:v>40593</c:v>
                </c:pt>
                <c:pt idx="1146">
                  <c:v>40594</c:v>
                </c:pt>
                <c:pt idx="1147">
                  <c:v>40595</c:v>
                </c:pt>
                <c:pt idx="1148">
                  <c:v>40596</c:v>
                </c:pt>
                <c:pt idx="1149">
                  <c:v>40597</c:v>
                </c:pt>
                <c:pt idx="1150">
                  <c:v>40598</c:v>
                </c:pt>
                <c:pt idx="1151">
                  <c:v>40599</c:v>
                </c:pt>
                <c:pt idx="1152">
                  <c:v>40600</c:v>
                </c:pt>
                <c:pt idx="1153">
                  <c:v>40601</c:v>
                </c:pt>
                <c:pt idx="1154">
                  <c:v>40602</c:v>
                </c:pt>
                <c:pt idx="1155">
                  <c:v>40603</c:v>
                </c:pt>
                <c:pt idx="1156">
                  <c:v>40604</c:v>
                </c:pt>
                <c:pt idx="1157">
                  <c:v>40605</c:v>
                </c:pt>
                <c:pt idx="1158">
                  <c:v>40606</c:v>
                </c:pt>
                <c:pt idx="1159">
                  <c:v>40607</c:v>
                </c:pt>
                <c:pt idx="1160">
                  <c:v>40608</c:v>
                </c:pt>
                <c:pt idx="1161">
                  <c:v>40609</c:v>
                </c:pt>
                <c:pt idx="1162">
                  <c:v>40610</c:v>
                </c:pt>
                <c:pt idx="1163">
                  <c:v>40611</c:v>
                </c:pt>
                <c:pt idx="1164">
                  <c:v>40612</c:v>
                </c:pt>
                <c:pt idx="1165">
                  <c:v>40613</c:v>
                </c:pt>
                <c:pt idx="1166">
                  <c:v>40614</c:v>
                </c:pt>
                <c:pt idx="1167">
                  <c:v>40615</c:v>
                </c:pt>
                <c:pt idx="1168">
                  <c:v>40616</c:v>
                </c:pt>
                <c:pt idx="1169">
                  <c:v>40617</c:v>
                </c:pt>
                <c:pt idx="1170">
                  <c:v>40618</c:v>
                </c:pt>
                <c:pt idx="1171">
                  <c:v>40619</c:v>
                </c:pt>
                <c:pt idx="1172">
                  <c:v>40620</c:v>
                </c:pt>
                <c:pt idx="1173">
                  <c:v>40621</c:v>
                </c:pt>
                <c:pt idx="1174">
                  <c:v>40622</c:v>
                </c:pt>
                <c:pt idx="1175">
                  <c:v>40623</c:v>
                </c:pt>
                <c:pt idx="1176">
                  <c:v>40624</c:v>
                </c:pt>
                <c:pt idx="1177">
                  <c:v>40625</c:v>
                </c:pt>
                <c:pt idx="1178">
                  <c:v>40626</c:v>
                </c:pt>
                <c:pt idx="1179">
                  <c:v>40627</c:v>
                </c:pt>
                <c:pt idx="1180">
                  <c:v>40628</c:v>
                </c:pt>
                <c:pt idx="1181">
                  <c:v>40629</c:v>
                </c:pt>
                <c:pt idx="1182">
                  <c:v>40630</c:v>
                </c:pt>
                <c:pt idx="1183">
                  <c:v>40631</c:v>
                </c:pt>
                <c:pt idx="1184">
                  <c:v>40632</c:v>
                </c:pt>
                <c:pt idx="1185">
                  <c:v>40633</c:v>
                </c:pt>
                <c:pt idx="1186">
                  <c:v>40634</c:v>
                </c:pt>
                <c:pt idx="1187">
                  <c:v>40635</c:v>
                </c:pt>
                <c:pt idx="1188">
                  <c:v>40636</c:v>
                </c:pt>
                <c:pt idx="1189">
                  <c:v>40637</c:v>
                </c:pt>
                <c:pt idx="1190">
                  <c:v>40638</c:v>
                </c:pt>
                <c:pt idx="1191">
                  <c:v>40639</c:v>
                </c:pt>
                <c:pt idx="1192">
                  <c:v>40640</c:v>
                </c:pt>
                <c:pt idx="1193">
                  <c:v>40641</c:v>
                </c:pt>
                <c:pt idx="1194">
                  <c:v>40642</c:v>
                </c:pt>
                <c:pt idx="1195">
                  <c:v>40643</c:v>
                </c:pt>
                <c:pt idx="1196">
                  <c:v>40644</c:v>
                </c:pt>
                <c:pt idx="1197">
                  <c:v>40645</c:v>
                </c:pt>
                <c:pt idx="1198">
                  <c:v>40646</c:v>
                </c:pt>
                <c:pt idx="1199">
                  <c:v>40647</c:v>
                </c:pt>
                <c:pt idx="1200">
                  <c:v>40648</c:v>
                </c:pt>
                <c:pt idx="1201">
                  <c:v>40649</c:v>
                </c:pt>
                <c:pt idx="1202">
                  <c:v>40650</c:v>
                </c:pt>
                <c:pt idx="1203">
                  <c:v>40651</c:v>
                </c:pt>
                <c:pt idx="1204">
                  <c:v>40652</c:v>
                </c:pt>
                <c:pt idx="1205">
                  <c:v>40653</c:v>
                </c:pt>
                <c:pt idx="1206">
                  <c:v>40654</c:v>
                </c:pt>
                <c:pt idx="1207">
                  <c:v>40655</c:v>
                </c:pt>
                <c:pt idx="1208">
                  <c:v>40656</c:v>
                </c:pt>
                <c:pt idx="1209">
                  <c:v>40657</c:v>
                </c:pt>
                <c:pt idx="1210">
                  <c:v>40658</c:v>
                </c:pt>
                <c:pt idx="1211">
                  <c:v>40659</c:v>
                </c:pt>
                <c:pt idx="1212">
                  <c:v>40660</c:v>
                </c:pt>
                <c:pt idx="1213">
                  <c:v>40661</c:v>
                </c:pt>
                <c:pt idx="1214">
                  <c:v>40662</c:v>
                </c:pt>
                <c:pt idx="1215">
                  <c:v>40663</c:v>
                </c:pt>
                <c:pt idx="1216">
                  <c:v>40664</c:v>
                </c:pt>
                <c:pt idx="1217">
                  <c:v>40665</c:v>
                </c:pt>
                <c:pt idx="1218">
                  <c:v>40666</c:v>
                </c:pt>
                <c:pt idx="1219">
                  <c:v>40667</c:v>
                </c:pt>
                <c:pt idx="1220">
                  <c:v>40668</c:v>
                </c:pt>
                <c:pt idx="1221">
                  <c:v>40669</c:v>
                </c:pt>
                <c:pt idx="1222">
                  <c:v>40670</c:v>
                </c:pt>
                <c:pt idx="1223">
                  <c:v>40671</c:v>
                </c:pt>
                <c:pt idx="1224">
                  <c:v>40672</c:v>
                </c:pt>
                <c:pt idx="1225">
                  <c:v>40673</c:v>
                </c:pt>
                <c:pt idx="1226">
                  <c:v>40674</c:v>
                </c:pt>
                <c:pt idx="1227">
                  <c:v>40675</c:v>
                </c:pt>
                <c:pt idx="1228">
                  <c:v>40676</c:v>
                </c:pt>
                <c:pt idx="1229">
                  <c:v>40677</c:v>
                </c:pt>
                <c:pt idx="1230">
                  <c:v>40678</c:v>
                </c:pt>
                <c:pt idx="1231">
                  <c:v>40679</c:v>
                </c:pt>
                <c:pt idx="1232">
                  <c:v>40680</c:v>
                </c:pt>
                <c:pt idx="1233">
                  <c:v>40681</c:v>
                </c:pt>
                <c:pt idx="1234">
                  <c:v>40682</c:v>
                </c:pt>
                <c:pt idx="1235">
                  <c:v>40683</c:v>
                </c:pt>
                <c:pt idx="1236">
                  <c:v>40684</c:v>
                </c:pt>
                <c:pt idx="1237">
                  <c:v>40685</c:v>
                </c:pt>
                <c:pt idx="1238">
                  <c:v>40686</c:v>
                </c:pt>
                <c:pt idx="1239">
                  <c:v>40687</c:v>
                </c:pt>
                <c:pt idx="1240">
                  <c:v>40688</c:v>
                </c:pt>
                <c:pt idx="1241">
                  <c:v>40689</c:v>
                </c:pt>
                <c:pt idx="1242">
                  <c:v>40690</c:v>
                </c:pt>
                <c:pt idx="1243">
                  <c:v>40691</c:v>
                </c:pt>
                <c:pt idx="1244">
                  <c:v>40692</c:v>
                </c:pt>
                <c:pt idx="1245">
                  <c:v>40693</c:v>
                </c:pt>
                <c:pt idx="1246">
                  <c:v>40694</c:v>
                </c:pt>
                <c:pt idx="1247">
                  <c:v>40695</c:v>
                </c:pt>
                <c:pt idx="1248">
                  <c:v>40696</c:v>
                </c:pt>
                <c:pt idx="1249">
                  <c:v>40697</c:v>
                </c:pt>
                <c:pt idx="1250">
                  <c:v>40698</c:v>
                </c:pt>
                <c:pt idx="1251">
                  <c:v>40699</c:v>
                </c:pt>
                <c:pt idx="1252">
                  <c:v>40700</c:v>
                </c:pt>
                <c:pt idx="1253">
                  <c:v>40701</c:v>
                </c:pt>
                <c:pt idx="1254">
                  <c:v>40702</c:v>
                </c:pt>
                <c:pt idx="1255">
                  <c:v>40703</c:v>
                </c:pt>
                <c:pt idx="1256">
                  <c:v>40704</c:v>
                </c:pt>
                <c:pt idx="1257">
                  <c:v>40705</c:v>
                </c:pt>
                <c:pt idx="1258">
                  <c:v>40706</c:v>
                </c:pt>
                <c:pt idx="1259">
                  <c:v>40707</c:v>
                </c:pt>
                <c:pt idx="1260">
                  <c:v>40708</c:v>
                </c:pt>
                <c:pt idx="1261">
                  <c:v>40709</c:v>
                </c:pt>
                <c:pt idx="1262">
                  <c:v>40710</c:v>
                </c:pt>
                <c:pt idx="1263">
                  <c:v>40711</c:v>
                </c:pt>
                <c:pt idx="1264">
                  <c:v>40712</c:v>
                </c:pt>
                <c:pt idx="1265">
                  <c:v>40713</c:v>
                </c:pt>
                <c:pt idx="1266">
                  <c:v>40714</c:v>
                </c:pt>
                <c:pt idx="1267">
                  <c:v>40715</c:v>
                </c:pt>
                <c:pt idx="1268">
                  <c:v>40716</c:v>
                </c:pt>
                <c:pt idx="1269">
                  <c:v>40717</c:v>
                </c:pt>
                <c:pt idx="1270">
                  <c:v>40718</c:v>
                </c:pt>
                <c:pt idx="1271">
                  <c:v>40719</c:v>
                </c:pt>
                <c:pt idx="1272">
                  <c:v>40720</c:v>
                </c:pt>
                <c:pt idx="1273">
                  <c:v>40721</c:v>
                </c:pt>
                <c:pt idx="1274">
                  <c:v>40722</c:v>
                </c:pt>
                <c:pt idx="1275">
                  <c:v>40723</c:v>
                </c:pt>
                <c:pt idx="1276">
                  <c:v>40724</c:v>
                </c:pt>
                <c:pt idx="1277">
                  <c:v>40725</c:v>
                </c:pt>
                <c:pt idx="1278">
                  <c:v>40726</c:v>
                </c:pt>
                <c:pt idx="1279">
                  <c:v>40727</c:v>
                </c:pt>
                <c:pt idx="1280">
                  <c:v>40728</c:v>
                </c:pt>
                <c:pt idx="1281">
                  <c:v>40729</c:v>
                </c:pt>
                <c:pt idx="1282">
                  <c:v>40730</c:v>
                </c:pt>
                <c:pt idx="1283">
                  <c:v>40731</c:v>
                </c:pt>
                <c:pt idx="1284">
                  <c:v>40732</c:v>
                </c:pt>
                <c:pt idx="1285">
                  <c:v>40733</c:v>
                </c:pt>
                <c:pt idx="1286">
                  <c:v>40734</c:v>
                </c:pt>
                <c:pt idx="1287">
                  <c:v>40735</c:v>
                </c:pt>
                <c:pt idx="1288">
                  <c:v>40736</c:v>
                </c:pt>
                <c:pt idx="1289">
                  <c:v>40737</c:v>
                </c:pt>
                <c:pt idx="1290">
                  <c:v>40738</c:v>
                </c:pt>
                <c:pt idx="1291">
                  <c:v>40739</c:v>
                </c:pt>
                <c:pt idx="1292">
                  <c:v>40740</c:v>
                </c:pt>
                <c:pt idx="1293">
                  <c:v>40741</c:v>
                </c:pt>
                <c:pt idx="1294">
                  <c:v>40742</c:v>
                </c:pt>
                <c:pt idx="1295">
                  <c:v>40743</c:v>
                </c:pt>
                <c:pt idx="1296">
                  <c:v>40744</c:v>
                </c:pt>
                <c:pt idx="1297">
                  <c:v>40745</c:v>
                </c:pt>
                <c:pt idx="1298">
                  <c:v>40746</c:v>
                </c:pt>
                <c:pt idx="1299">
                  <c:v>40747</c:v>
                </c:pt>
                <c:pt idx="1300">
                  <c:v>40748</c:v>
                </c:pt>
                <c:pt idx="1301">
                  <c:v>40749</c:v>
                </c:pt>
                <c:pt idx="1302">
                  <c:v>40750</c:v>
                </c:pt>
                <c:pt idx="1303">
                  <c:v>40751</c:v>
                </c:pt>
                <c:pt idx="1304">
                  <c:v>40752</c:v>
                </c:pt>
                <c:pt idx="1305">
                  <c:v>40753</c:v>
                </c:pt>
                <c:pt idx="1306">
                  <c:v>40754</c:v>
                </c:pt>
                <c:pt idx="1307">
                  <c:v>40755</c:v>
                </c:pt>
                <c:pt idx="1308">
                  <c:v>40756</c:v>
                </c:pt>
                <c:pt idx="1309">
                  <c:v>40757</c:v>
                </c:pt>
                <c:pt idx="1310">
                  <c:v>40758</c:v>
                </c:pt>
                <c:pt idx="1311">
                  <c:v>40759</c:v>
                </c:pt>
                <c:pt idx="1312">
                  <c:v>40760</c:v>
                </c:pt>
                <c:pt idx="1313">
                  <c:v>40761</c:v>
                </c:pt>
                <c:pt idx="1314">
                  <c:v>40762</c:v>
                </c:pt>
                <c:pt idx="1315">
                  <c:v>40763</c:v>
                </c:pt>
                <c:pt idx="1316">
                  <c:v>40764</c:v>
                </c:pt>
                <c:pt idx="1317">
                  <c:v>40765</c:v>
                </c:pt>
                <c:pt idx="1318">
                  <c:v>40766</c:v>
                </c:pt>
                <c:pt idx="1319">
                  <c:v>40767</c:v>
                </c:pt>
                <c:pt idx="1320">
                  <c:v>40768</c:v>
                </c:pt>
                <c:pt idx="1321">
                  <c:v>40769</c:v>
                </c:pt>
                <c:pt idx="1322">
                  <c:v>40770</c:v>
                </c:pt>
                <c:pt idx="1323">
                  <c:v>40771</c:v>
                </c:pt>
                <c:pt idx="1324">
                  <c:v>40772</c:v>
                </c:pt>
                <c:pt idx="1325">
                  <c:v>40773</c:v>
                </c:pt>
                <c:pt idx="1326">
                  <c:v>40774</c:v>
                </c:pt>
                <c:pt idx="1327">
                  <c:v>40775</c:v>
                </c:pt>
                <c:pt idx="1328">
                  <c:v>40776</c:v>
                </c:pt>
                <c:pt idx="1329">
                  <c:v>40777</c:v>
                </c:pt>
                <c:pt idx="1330">
                  <c:v>40778</c:v>
                </c:pt>
                <c:pt idx="1331">
                  <c:v>40779</c:v>
                </c:pt>
                <c:pt idx="1332">
                  <c:v>40780</c:v>
                </c:pt>
                <c:pt idx="1333">
                  <c:v>40781</c:v>
                </c:pt>
                <c:pt idx="1334">
                  <c:v>40782</c:v>
                </c:pt>
                <c:pt idx="1335">
                  <c:v>40783</c:v>
                </c:pt>
                <c:pt idx="1336">
                  <c:v>40784</c:v>
                </c:pt>
                <c:pt idx="1337">
                  <c:v>40785</c:v>
                </c:pt>
                <c:pt idx="1338">
                  <c:v>40786</c:v>
                </c:pt>
                <c:pt idx="1339">
                  <c:v>40787</c:v>
                </c:pt>
                <c:pt idx="1340">
                  <c:v>40788</c:v>
                </c:pt>
                <c:pt idx="1341">
                  <c:v>40789</c:v>
                </c:pt>
                <c:pt idx="1342">
                  <c:v>40790</c:v>
                </c:pt>
                <c:pt idx="1343">
                  <c:v>40791</c:v>
                </c:pt>
                <c:pt idx="1344">
                  <c:v>40792</c:v>
                </c:pt>
                <c:pt idx="1345">
                  <c:v>40793</c:v>
                </c:pt>
                <c:pt idx="1346">
                  <c:v>40794</c:v>
                </c:pt>
                <c:pt idx="1347">
                  <c:v>40795</c:v>
                </c:pt>
                <c:pt idx="1348">
                  <c:v>40796</c:v>
                </c:pt>
                <c:pt idx="1349">
                  <c:v>40797</c:v>
                </c:pt>
                <c:pt idx="1350">
                  <c:v>40798</c:v>
                </c:pt>
                <c:pt idx="1351">
                  <c:v>40799</c:v>
                </c:pt>
                <c:pt idx="1352">
                  <c:v>40800</c:v>
                </c:pt>
                <c:pt idx="1353">
                  <c:v>40801</c:v>
                </c:pt>
                <c:pt idx="1354">
                  <c:v>40802</c:v>
                </c:pt>
                <c:pt idx="1355">
                  <c:v>40803</c:v>
                </c:pt>
                <c:pt idx="1356">
                  <c:v>40804</c:v>
                </c:pt>
                <c:pt idx="1357">
                  <c:v>40805</c:v>
                </c:pt>
                <c:pt idx="1358">
                  <c:v>40806</c:v>
                </c:pt>
                <c:pt idx="1359">
                  <c:v>40807</c:v>
                </c:pt>
                <c:pt idx="1360">
                  <c:v>40808</c:v>
                </c:pt>
                <c:pt idx="1361">
                  <c:v>40809</c:v>
                </c:pt>
                <c:pt idx="1362">
                  <c:v>40810</c:v>
                </c:pt>
                <c:pt idx="1363">
                  <c:v>40811</c:v>
                </c:pt>
                <c:pt idx="1364">
                  <c:v>40812</c:v>
                </c:pt>
                <c:pt idx="1365">
                  <c:v>40813</c:v>
                </c:pt>
                <c:pt idx="1366">
                  <c:v>40814</c:v>
                </c:pt>
                <c:pt idx="1367">
                  <c:v>40815</c:v>
                </c:pt>
                <c:pt idx="1368">
                  <c:v>40816</c:v>
                </c:pt>
                <c:pt idx="1369">
                  <c:v>40817</c:v>
                </c:pt>
                <c:pt idx="1370">
                  <c:v>40818</c:v>
                </c:pt>
                <c:pt idx="1371">
                  <c:v>40819</c:v>
                </c:pt>
                <c:pt idx="1372">
                  <c:v>40820</c:v>
                </c:pt>
                <c:pt idx="1373">
                  <c:v>40821</c:v>
                </c:pt>
                <c:pt idx="1374">
                  <c:v>40822</c:v>
                </c:pt>
                <c:pt idx="1375">
                  <c:v>40823</c:v>
                </c:pt>
                <c:pt idx="1376">
                  <c:v>40824</c:v>
                </c:pt>
                <c:pt idx="1377">
                  <c:v>40825</c:v>
                </c:pt>
                <c:pt idx="1378">
                  <c:v>40826</c:v>
                </c:pt>
                <c:pt idx="1379">
                  <c:v>40827</c:v>
                </c:pt>
                <c:pt idx="1380">
                  <c:v>40828</c:v>
                </c:pt>
                <c:pt idx="1381">
                  <c:v>40829</c:v>
                </c:pt>
                <c:pt idx="1382">
                  <c:v>40830</c:v>
                </c:pt>
                <c:pt idx="1383">
                  <c:v>40831</c:v>
                </c:pt>
                <c:pt idx="1384">
                  <c:v>40832</c:v>
                </c:pt>
                <c:pt idx="1385">
                  <c:v>40833</c:v>
                </c:pt>
                <c:pt idx="1386">
                  <c:v>40834</c:v>
                </c:pt>
                <c:pt idx="1387">
                  <c:v>40835</c:v>
                </c:pt>
                <c:pt idx="1388">
                  <c:v>40836</c:v>
                </c:pt>
                <c:pt idx="1389">
                  <c:v>40837</c:v>
                </c:pt>
                <c:pt idx="1390">
                  <c:v>40838</c:v>
                </c:pt>
                <c:pt idx="1391">
                  <c:v>40839</c:v>
                </c:pt>
                <c:pt idx="1392">
                  <c:v>40840</c:v>
                </c:pt>
                <c:pt idx="1393">
                  <c:v>40841</c:v>
                </c:pt>
                <c:pt idx="1394">
                  <c:v>40842</c:v>
                </c:pt>
                <c:pt idx="1395">
                  <c:v>40843</c:v>
                </c:pt>
                <c:pt idx="1396">
                  <c:v>40844</c:v>
                </c:pt>
                <c:pt idx="1397">
                  <c:v>40845</c:v>
                </c:pt>
                <c:pt idx="1398">
                  <c:v>40846</c:v>
                </c:pt>
                <c:pt idx="1399">
                  <c:v>40847</c:v>
                </c:pt>
                <c:pt idx="1400">
                  <c:v>40848</c:v>
                </c:pt>
                <c:pt idx="1401">
                  <c:v>40849</c:v>
                </c:pt>
                <c:pt idx="1402">
                  <c:v>40850</c:v>
                </c:pt>
                <c:pt idx="1403">
                  <c:v>40851</c:v>
                </c:pt>
                <c:pt idx="1404">
                  <c:v>40852</c:v>
                </c:pt>
                <c:pt idx="1405">
                  <c:v>40853</c:v>
                </c:pt>
                <c:pt idx="1406">
                  <c:v>40854</c:v>
                </c:pt>
                <c:pt idx="1407">
                  <c:v>40855</c:v>
                </c:pt>
                <c:pt idx="1408">
                  <c:v>40856</c:v>
                </c:pt>
                <c:pt idx="1409">
                  <c:v>40857</c:v>
                </c:pt>
                <c:pt idx="1410">
                  <c:v>40858</c:v>
                </c:pt>
                <c:pt idx="1411">
                  <c:v>40859</c:v>
                </c:pt>
                <c:pt idx="1412">
                  <c:v>40860</c:v>
                </c:pt>
                <c:pt idx="1413">
                  <c:v>40861</c:v>
                </c:pt>
                <c:pt idx="1414">
                  <c:v>40862</c:v>
                </c:pt>
                <c:pt idx="1415">
                  <c:v>40863</c:v>
                </c:pt>
                <c:pt idx="1416">
                  <c:v>40864</c:v>
                </c:pt>
                <c:pt idx="1417">
                  <c:v>40865</c:v>
                </c:pt>
                <c:pt idx="1418">
                  <c:v>40866</c:v>
                </c:pt>
                <c:pt idx="1419">
                  <c:v>40867</c:v>
                </c:pt>
                <c:pt idx="1420">
                  <c:v>40868</c:v>
                </c:pt>
                <c:pt idx="1421">
                  <c:v>40869</c:v>
                </c:pt>
                <c:pt idx="1422">
                  <c:v>40870</c:v>
                </c:pt>
                <c:pt idx="1423">
                  <c:v>40871</c:v>
                </c:pt>
                <c:pt idx="1424">
                  <c:v>40872</c:v>
                </c:pt>
                <c:pt idx="1425">
                  <c:v>40873</c:v>
                </c:pt>
                <c:pt idx="1426">
                  <c:v>40874</c:v>
                </c:pt>
                <c:pt idx="1427">
                  <c:v>40875</c:v>
                </c:pt>
                <c:pt idx="1428">
                  <c:v>40876</c:v>
                </c:pt>
                <c:pt idx="1429">
                  <c:v>40877</c:v>
                </c:pt>
                <c:pt idx="1430">
                  <c:v>40878</c:v>
                </c:pt>
                <c:pt idx="1431">
                  <c:v>40879</c:v>
                </c:pt>
                <c:pt idx="1432">
                  <c:v>40880</c:v>
                </c:pt>
                <c:pt idx="1433">
                  <c:v>40881</c:v>
                </c:pt>
                <c:pt idx="1434">
                  <c:v>40882</c:v>
                </c:pt>
                <c:pt idx="1435">
                  <c:v>40883</c:v>
                </c:pt>
                <c:pt idx="1436">
                  <c:v>40884</c:v>
                </c:pt>
                <c:pt idx="1437">
                  <c:v>40885</c:v>
                </c:pt>
                <c:pt idx="1438">
                  <c:v>40886</c:v>
                </c:pt>
                <c:pt idx="1439">
                  <c:v>40887</c:v>
                </c:pt>
                <c:pt idx="1440">
                  <c:v>40888</c:v>
                </c:pt>
                <c:pt idx="1441">
                  <c:v>40889</c:v>
                </c:pt>
                <c:pt idx="1442">
                  <c:v>40890</c:v>
                </c:pt>
                <c:pt idx="1443">
                  <c:v>40891</c:v>
                </c:pt>
                <c:pt idx="1444">
                  <c:v>40892</c:v>
                </c:pt>
                <c:pt idx="1445">
                  <c:v>40893</c:v>
                </c:pt>
                <c:pt idx="1446">
                  <c:v>40894</c:v>
                </c:pt>
                <c:pt idx="1447">
                  <c:v>40895</c:v>
                </c:pt>
                <c:pt idx="1448">
                  <c:v>40896</c:v>
                </c:pt>
                <c:pt idx="1449">
                  <c:v>40897</c:v>
                </c:pt>
                <c:pt idx="1450">
                  <c:v>40898</c:v>
                </c:pt>
                <c:pt idx="1451">
                  <c:v>40899</c:v>
                </c:pt>
                <c:pt idx="1452">
                  <c:v>40900</c:v>
                </c:pt>
                <c:pt idx="1453">
                  <c:v>40901</c:v>
                </c:pt>
                <c:pt idx="1454">
                  <c:v>40902</c:v>
                </c:pt>
                <c:pt idx="1455">
                  <c:v>40903</c:v>
                </c:pt>
                <c:pt idx="1456">
                  <c:v>40904</c:v>
                </c:pt>
                <c:pt idx="1457">
                  <c:v>40905</c:v>
                </c:pt>
                <c:pt idx="1458">
                  <c:v>40906</c:v>
                </c:pt>
                <c:pt idx="1459">
                  <c:v>40907</c:v>
                </c:pt>
                <c:pt idx="1460">
                  <c:v>40908</c:v>
                </c:pt>
                <c:pt idx="1461">
                  <c:v>40909</c:v>
                </c:pt>
                <c:pt idx="1462">
                  <c:v>40910</c:v>
                </c:pt>
                <c:pt idx="1463">
                  <c:v>40911</c:v>
                </c:pt>
                <c:pt idx="1464">
                  <c:v>40912</c:v>
                </c:pt>
                <c:pt idx="1465">
                  <c:v>40913</c:v>
                </c:pt>
                <c:pt idx="1466">
                  <c:v>40914</c:v>
                </c:pt>
                <c:pt idx="1467">
                  <c:v>40915</c:v>
                </c:pt>
                <c:pt idx="1468">
                  <c:v>40916</c:v>
                </c:pt>
                <c:pt idx="1469">
                  <c:v>40917</c:v>
                </c:pt>
                <c:pt idx="1470">
                  <c:v>40918</c:v>
                </c:pt>
                <c:pt idx="1471">
                  <c:v>40919</c:v>
                </c:pt>
                <c:pt idx="1472">
                  <c:v>40920</c:v>
                </c:pt>
                <c:pt idx="1473">
                  <c:v>40921</c:v>
                </c:pt>
                <c:pt idx="1474">
                  <c:v>40922</c:v>
                </c:pt>
                <c:pt idx="1475">
                  <c:v>40923</c:v>
                </c:pt>
                <c:pt idx="1476">
                  <c:v>40924</c:v>
                </c:pt>
                <c:pt idx="1477">
                  <c:v>40925</c:v>
                </c:pt>
                <c:pt idx="1478">
                  <c:v>40926</c:v>
                </c:pt>
                <c:pt idx="1479">
                  <c:v>40927</c:v>
                </c:pt>
                <c:pt idx="1480">
                  <c:v>40928</c:v>
                </c:pt>
                <c:pt idx="1481">
                  <c:v>40929</c:v>
                </c:pt>
                <c:pt idx="1482">
                  <c:v>40930</c:v>
                </c:pt>
                <c:pt idx="1483">
                  <c:v>40931</c:v>
                </c:pt>
                <c:pt idx="1484">
                  <c:v>40932</c:v>
                </c:pt>
                <c:pt idx="1485">
                  <c:v>40933</c:v>
                </c:pt>
                <c:pt idx="1486">
                  <c:v>40934</c:v>
                </c:pt>
                <c:pt idx="1487">
                  <c:v>40935</c:v>
                </c:pt>
                <c:pt idx="1488">
                  <c:v>40936</c:v>
                </c:pt>
                <c:pt idx="1489">
                  <c:v>40937</c:v>
                </c:pt>
                <c:pt idx="1490">
                  <c:v>40938</c:v>
                </c:pt>
                <c:pt idx="1491">
                  <c:v>40939</c:v>
                </c:pt>
                <c:pt idx="1492">
                  <c:v>40940</c:v>
                </c:pt>
                <c:pt idx="1493">
                  <c:v>40941</c:v>
                </c:pt>
                <c:pt idx="1494">
                  <c:v>40942</c:v>
                </c:pt>
                <c:pt idx="1495">
                  <c:v>40943</c:v>
                </c:pt>
                <c:pt idx="1496">
                  <c:v>40944</c:v>
                </c:pt>
                <c:pt idx="1497">
                  <c:v>40945</c:v>
                </c:pt>
                <c:pt idx="1498">
                  <c:v>40946</c:v>
                </c:pt>
                <c:pt idx="1499">
                  <c:v>40947</c:v>
                </c:pt>
                <c:pt idx="1500">
                  <c:v>40948</c:v>
                </c:pt>
                <c:pt idx="1501">
                  <c:v>40949</c:v>
                </c:pt>
                <c:pt idx="1502">
                  <c:v>40950</c:v>
                </c:pt>
                <c:pt idx="1503">
                  <c:v>40951</c:v>
                </c:pt>
                <c:pt idx="1504">
                  <c:v>40952</c:v>
                </c:pt>
                <c:pt idx="1505">
                  <c:v>40953</c:v>
                </c:pt>
                <c:pt idx="1506">
                  <c:v>40954</c:v>
                </c:pt>
                <c:pt idx="1507">
                  <c:v>40955</c:v>
                </c:pt>
                <c:pt idx="1508">
                  <c:v>40956</c:v>
                </c:pt>
                <c:pt idx="1509">
                  <c:v>40957</c:v>
                </c:pt>
                <c:pt idx="1510">
                  <c:v>40958</c:v>
                </c:pt>
                <c:pt idx="1511">
                  <c:v>40959</c:v>
                </c:pt>
                <c:pt idx="1512">
                  <c:v>40960</c:v>
                </c:pt>
                <c:pt idx="1513">
                  <c:v>40961</c:v>
                </c:pt>
                <c:pt idx="1514">
                  <c:v>40962</c:v>
                </c:pt>
                <c:pt idx="1515">
                  <c:v>40963</c:v>
                </c:pt>
                <c:pt idx="1516">
                  <c:v>40964</c:v>
                </c:pt>
                <c:pt idx="1517">
                  <c:v>40965</c:v>
                </c:pt>
                <c:pt idx="1518">
                  <c:v>40966</c:v>
                </c:pt>
                <c:pt idx="1519">
                  <c:v>40967</c:v>
                </c:pt>
                <c:pt idx="1520">
                  <c:v>40968</c:v>
                </c:pt>
                <c:pt idx="1521">
                  <c:v>40969</c:v>
                </c:pt>
                <c:pt idx="1522">
                  <c:v>40970</c:v>
                </c:pt>
                <c:pt idx="1523">
                  <c:v>40971</c:v>
                </c:pt>
                <c:pt idx="1524">
                  <c:v>40972</c:v>
                </c:pt>
                <c:pt idx="1525">
                  <c:v>40973</c:v>
                </c:pt>
                <c:pt idx="1526">
                  <c:v>40974</c:v>
                </c:pt>
                <c:pt idx="1527">
                  <c:v>40975</c:v>
                </c:pt>
                <c:pt idx="1528">
                  <c:v>40976</c:v>
                </c:pt>
                <c:pt idx="1529">
                  <c:v>40977</c:v>
                </c:pt>
                <c:pt idx="1530">
                  <c:v>40978</c:v>
                </c:pt>
                <c:pt idx="1531">
                  <c:v>40979</c:v>
                </c:pt>
                <c:pt idx="1532">
                  <c:v>40980</c:v>
                </c:pt>
                <c:pt idx="1533">
                  <c:v>40981</c:v>
                </c:pt>
                <c:pt idx="1534">
                  <c:v>40982</c:v>
                </c:pt>
                <c:pt idx="1535">
                  <c:v>40983</c:v>
                </c:pt>
                <c:pt idx="1536">
                  <c:v>40984</c:v>
                </c:pt>
                <c:pt idx="1537">
                  <c:v>40985</c:v>
                </c:pt>
                <c:pt idx="1538">
                  <c:v>40986</c:v>
                </c:pt>
                <c:pt idx="1539">
                  <c:v>40987</c:v>
                </c:pt>
                <c:pt idx="1540">
                  <c:v>40988</c:v>
                </c:pt>
                <c:pt idx="1541">
                  <c:v>40989</c:v>
                </c:pt>
                <c:pt idx="1542">
                  <c:v>40990</c:v>
                </c:pt>
                <c:pt idx="1543">
                  <c:v>40991</c:v>
                </c:pt>
                <c:pt idx="1544">
                  <c:v>40992</c:v>
                </c:pt>
                <c:pt idx="1545">
                  <c:v>40993</c:v>
                </c:pt>
                <c:pt idx="1546">
                  <c:v>40994</c:v>
                </c:pt>
                <c:pt idx="1547">
                  <c:v>40995</c:v>
                </c:pt>
                <c:pt idx="1548">
                  <c:v>40996</c:v>
                </c:pt>
                <c:pt idx="1549">
                  <c:v>40997</c:v>
                </c:pt>
                <c:pt idx="1550">
                  <c:v>40998</c:v>
                </c:pt>
                <c:pt idx="1551">
                  <c:v>40999</c:v>
                </c:pt>
                <c:pt idx="1552">
                  <c:v>41000</c:v>
                </c:pt>
                <c:pt idx="1553">
                  <c:v>41001</c:v>
                </c:pt>
                <c:pt idx="1554">
                  <c:v>41002</c:v>
                </c:pt>
                <c:pt idx="1555">
                  <c:v>41003</c:v>
                </c:pt>
                <c:pt idx="1556">
                  <c:v>41004</c:v>
                </c:pt>
                <c:pt idx="1557">
                  <c:v>41005</c:v>
                </c:pt>
                <c:pt idx="1558">
                  <c:v>41006</c:v>
                </c:pt>
                <c:pt idx="1559">
                  <c:v>41007</c:v>
                </c:pt>
                <c:pt idx="1560">
                  <c:v>41008</c:v>
                </c:pt>
                <c:pt idx="1561">
                  <c:v>41009</c:v>
                </c:pt>
                <c:pt idx="1562">
                  <c:v>41010</c:v>
                </c:pt>
                <c:pt idx="1563">
                  <c:v>41011</c:v>
                </c:pt>
                <c:pt idx="1564">
                  <c:v>41012</c:v>
                </c:pt>
                <c:pt idx="1565">
                  <c:v>41013</c:v>
                </c:pt>
                <c:pt idx="1566">
                  <c:v>41014</c:v>
                </c:pt>
                <c:pt idx="1567">
                  <c:v>41015</c:v>
                </c:pt>
                <c:pt idx="1568">
                  <c:v>41016</c:v>
                </c:pt>
                <c:pt idx="1569">
                  <c:v>41017</c:v>
                </c:pt>
                <c:pt idx="1570">
                  <c:v>41018</c:v>
                </c:pt>
                <c:pt idx="1571">
                  <c:v>41019</c:v>
                </c:pt>
                <c:pt idx="1572">
                  <c:v>41020</c:v>
                </c:pt>
                <c:pt idx="1573">
                  <c:v>41021</c:v>
                </c:pt>
                <c:pt idx="1574">
                  <c:v>41022</c:v>
                </c:pt>
                <c:pt idx="1575">
                  <c:v>41023</c:v>
                </c:pt>
                <c:pt idx="1576">
                  <c:v>41024</c:v>
                </c:pt>
                <c:pt idx="1577">
                  <c:v>41025</c:v>
                </c:pt>
                <c:pt idx="1578">
                  <c:v>41026</c:v>
                </c:pt>
                <c:pt idx="1579">
                  <c:v>41027</c:v>
                </c:pt>
                <c:pt idx="1580">
                  <c:v>41028</c:v>
                </c:pt>
                <c:pt idx="1581">
                  <c:v>41029</c:v>
                </c:pt>
                <c:pt idx="1582">
                  <c:v>41030</c:v>
                </c:pt>
                <c:pt idx="1583">
                  <c:v>41031</c:v>
                </c:pt>
                <c:pt idx="1584">
                  <c:v>41032</c:v>
                </c:pt>
                <c:pt idx="1585">
                  <c:v>41033</c:v>
                </c:pt>
                <c:pt idx="1586">
                  <c:v>41034</c:v>
                </c:pt>
                <c:pt idx="1587">
                  <c:v>41035</c:v>
                </c:pt>
                <c:pt idx="1588">
                  <c:v>41036</c:v>
                </c:pt>
                <c:pt idx="1589">
                  <c:v>41037</c:v>
                </c:pt>
                <c:pt idx="1590">
                  <c:v>41038</c:v>
                </c:pt>
                <c:pt idx="1591">
                  <c:v>41039</c:v>
                </c:pt>
                <c:pt idx="1592">
                  <c:v>41040</c:v>
                </c:pt>
                <c:pt idx="1593">
                  <c:v>41041</c:v>
                </c:pt>
                <c:pt idx="1594">
                  <c:v>41042</c:v>
                </c:pt>
                <c:pt idx="1595">
                  <c:v>41043</c:v>
                </c:pt>
                <c:pt idx="1596">
                  <c:v>41044</c:v>
                </c:pt>
                <c:pt idx="1597">
                  <c:v>41045</c:v>
                </c:pt>
                <c:pt idx="1598">
                  <c:v>41046</c:v>
                </c:pt>
                <c:pt idx="1599">
                  <c:v>41047</c:v>
                </c:pt>
                <c:pt idx="1600">
                  <c:v>41048</c:v>
                </c:pt>
                <c:pt idx="1601">
                  <c:v>41049</c:v>
                </c:pt>
                <c:pt idx="1602">
                  <c:v>41050</c:v>
                </c:pt>
                <c:pt idx="1603">
                  <c:v>41051</c:v>
                </c:pt>
                <c:pt idx="1604">
                  <c:v>41052</c:v>
                </c:pt>
                <c:pt idx="1605">
                  <c:v>41053</c:v>
                </c:pt>
                <c:pt idx="1606">
                  <c:v>41054</c:v>
                </c:pt>
                <c:pt idx="1607">
                  <c:v>41055</c:v>
                </c:pt>
                <c:pt idx="1608">
                  <c:v>41056</c:v>
                </c:pt>
                <c:pt idx="1609">
                  <c:v>41057</c:v>
                </c:pt>
                <c:pt idx="1610">
                  <c:v>41058</c:v>
                </c:pt>
                <c:pt idx="1611">
                  <c:v>41059</c:v>
                </c:pt>
                <c:pt idx="1612">
                  <c:v>41060</c:v>
                </c:pt>
                <c:pt idx="1613">
                  <c:v>41061</c:v>
                </c:pt>
                <c:pt idx="1614">
                  <c:v>41062</c:v>
                </c:pt>
                <c:pt idx="1615">
                  <c:v>41063</c:v>
                </c:pt>
                <c:pt idx="1616">
                  <c:v>41064</c:v>
                </c:pt>
                <c:pt idx="1617">
                  <c:v>41065</c:v>
                </c:pt>
                <c:pt idx="1618">
                  <c:v>41066</c:v>
                </c:pt>
                <c:pt idx="1619">
                  <c:v>41067</c:v>
                </c:pt>
                <c:pt idx="1620">
                  <c:v>41068</c:v>
                </c:pt>
                <c:pt idx="1621">
                  <c:v>41069</c:v>
                </c:pt>
                <c:pt idx="1622">
                  <c:v>41070</c:v>
                </c:pt>
                <c:pt idx="1623">
                  <c:v>41071</c:v>
                </c:pt>
                <c:pt idx="1624">
                  <c:v>41072</c:v>
                </c:pt>
                <c:pt idx="1625">
                  <c:v>41073</c:v>
                </c:pt>
                <c:pt idx="1626">
                  <c:v>41074</c:v>
                </c:pt>
                <c:pt idx="1627">
                  <c:v>41075</c:v>
                </c:pt>
                <c:pt idx="1628">
                  <c:v>41076</c:v>
                </c:pt>
                <c:pt idx="1629">
                  <c:v>41077</c:v>
                </c:pt>
                <c:pt idx="1630">
                  <c:v>41078</c:v>
                </c:pt>
                <c:pt idx="1631">
                  <c:v>41079</c:v>
                </c:pt>
                <c:pt idx="1632">
                  <c:v>41080</c:v>
                </c:pt>
                <c:pt idx="1633">
                  <c:v>41081</c:v>
                </c:pt>
                <c:pt idx="1634">
                  <c:v>41082</c:v>
                </c:pt>
                <c:pt idx="1635">
                  <c:v>41083</c:v>
                </c:pt>
                <c:pt idx="1636">
                  <c:v>41084</c:v>
                </c:pt>
                <c:pt idx="1637">
                  <c:v>41085</c:v>
                </c:pt>
                <c:pt idx="1638">
                  <c:v>41086</c:v>
                </c:pt>
                <c:pt idx="1639">
                  <c:v>41087</c:v>
                </c:pt>
                <c:pt idx="1640">
                  <c:v>41088</c:v>
                </c:pt>
                <c:pt idx="1641">
                  <c:v>41089</c:v>
                </c:pt>
                <c:pt idx="1642">
                  <c:v>41090</c:v>
                </c:pt>
                <c:pt idx="1643">
                  <c:v>41091</c:v>
                </c:pt>
                <c:pt idx="1644">
                  <c:v>41092</c:v>
                </c:pt>
                <c:pt idx="1645">
                  <c:v>41093</c:v>
                </c:pt>
                <c:pt idx="1646">
                  <c:v>41094</c:v>
                </c:pt>
                <c:pt idx="1647">
                  <c:v>41095</c:v>
                </c:pt>
                <c:pt idx="1648">
                  <c:v>41096</c:v>
                </c:pt>
                <c:pt idx="1649">
                  <c:v>41097</c:v>
                </c:pt>
                <c:pt idx="1650">
                  <c:v>41098</c:v>
                </c:pt>
                <c:pt idx="1651">
                  <c:v>41099</c:v>
                </c:pt>
                <c:pt idx="1652">
                  <c:v>41100</c:v>
                </c:pt>
                <c:pt idx="1653">
                  <c:v>41101</c:v>
                </c:pt>
                <c:pt idx="1654">
                  <c:v>41102</c:v>
                </c:pt>
                <c:pt idx="1655">
                  <c:v>41103</c:v>
                </c:pt>
                <c:pt idx="1656">
                  <c:v>41104</c:v>
                </c:pt>
                <c:pt idx="1657">
                  <c:v>41105</c:v>
                </c:pt>
                <c:pt idx="1658">
                  <c:v>41106</c:v>
                </c:pt>
                <c:pt idx="1659">
                  <c:v>41107</c:v>
                </c:pt>
                <c:pt idx="1660">
                  <c:v>41108</c:v>
                </c:pt>
                <c:pt idx="1661">
                  <c:v>41109</c:v>
                </c:pt>
                <c:pt idx="1662">
                  <c:v>41110</c:v>
                </c:pt>
                <c:pt idx="1663">
                  <c:v>41111</c:v>
                </c:pt>
                <c:pt idx="1664">
                  <c:v>41112</c:v>
                </c:pt>
                <c:pt idx="1665">
                  <c:v>41113</c:v>
                </c:pt>
                <c:pt idx="1666">
                  <c:v>41114</c:v>
                </c:pt>
                <c:pt idx="1667">
                  <c:v>41115</c:v>
                </c:pt>
                <c:pt idx="1668">
                  <c:v>41116</c:v>
                </c:pt>
                <c:pt idx="1669">
                  <c:v>41117</c:v>
                </c:pt>
                <c:pt idx="1670">
                  <c:v>41118</c:v>
                </c:pt>
                <c:pt idx="1671">
                  <c:v>41119</c:v>
                </c:pt>
                <c:pt idx="1672">
                  <c:v>41120</c:v>
                </c:pt>
                <c:pt idx="1673">
                  <c:v>41121</c:v>
                </c:pt>
                <c:pt idx="1674">
                  <c:v>41122</c:v>
                </c:pt>
                <c:pt idx="1675">
                  <c:v>41123</c:v>
                </c:pt>
                <c:pt idx="1676">
                  <c:v>41124</c:v>
                </c:pt>
                <c:pt idx="1677">
                  <c:v>41125</c:v>
                </c:pt>
                <c:pt idx="1678">
                  <c:v>41126</c:v>
                </c:pt>
                <c:pt idx="1679">
                  <c:v>41127</c:v>
                </c:pt>
                <c:pt idx="1680">
                  <c:v>41128</c:v>
                </c:pt>
                <c:pt idx="1681">
                  <c:v>41129</c:v>
                </c:pt>
                <c:pt idx="1682">
                  <c:v>41130</c:v>
                </c:pt>
                <c:pt idx="1683">
                  <c:v>41131</c:v>
                </c:pt>
                <c:pt idx="1684">
                  <c:v>41132</c:v>
                </c:pt>
                <c:pt idx="1685">
                  <c:v>41133</c:v>
                </c:pt>
                <c:pt idx="1686">
                  <c:v>41134</c:v>
                </c:pt>
                <c:pt idx="1687">
                  <c:v>41135</c:v>
                </c:pt>
                <c:pt idx="1688">
                  <c:v>41136</c:v>
                </c:pt>
                <c:pt idx="1689">
                  <c:v>41137</c:v>
                </c:pt>
                <c:pt idx="1690">
                  <c:v>41138</c:v>
                </c:pt>
                <c:pt idx="1691">
                  <c:v>41139</c:v>
                </c:pt>
                <c:pt idx="1692">
                  <c:v>41140</c:v>
                </c:pt>
                <c:pt idx="1693">
                  <c:v>41141</c:v>
                </c:pt>
                <c:pt idx="1694">
                  <c:v>41142</c:v>
                </c:pt>
                <c:pt idx="1695">
                  <c:v>41143</c:v>
                </c:pt>
                <c:pt idx="1696">
                  <c:v>41144</c:v>
                </c:pt>
                <c:pt idx="1697">
                  <c:v>41145</c:v>
                </c:pt>
                <c:pt idx="1698">
                  <c:v>41146</c:v>
                </c:pt>
                <c:pt idx="1699">
                  <c:v>41147</c:v>
                </c:pt>
                <c:pt idx="1700">
                  <c:v>41148</c:v>
                </c:pt>
                <c:pt idx="1701">
                  <c:v>41149</c:v>
                </c:pt>
                <c:pt idx="1702">
                  <c:v>41150</c:v>
                </c:pt>
                <c:pt idx="1703">
                  <c:v>41151</c:v>
                </c:pt>
                <c:pt idx="1704">
                  <c:v>41152</c:v>
                </c:pt>
                <c:pt idx="1705">
                  <c:v>41153</c:v>
                </c:pt>
                <c:pt idx="1706">
                  <c:v>41154</c:v>
                </c:pt>
                <c:pt idx="1707">
                  <c:v>41155</c:v>
                </c:pt>
                <c:pt idx="1708">
                  <c:v>41156</c:v>
                </c:pt>
                <c:pt idx="1709">
                  <c:v>41157</c:v>
                </c:pt>
                <c:pt idx="1710">
                  <c:v>41158</c:v>
                </c:pt>
                <c:pt idx="1711">
                  <c:v>41159</c:v>
                </c:pt>
                <c:pt idx="1712">
                  <c:v>41160</c:v>
                </c:pt>
                <c:pt idx="1713">
                  <c:v>41161</c:v>
                </c:pt>
                <c:pt idx="1714">
                  <c:v>41162</c:v>
                </c:pt>
                <c:pt idx="1715">
                  <c:v>41163</c:v>
                </c:pt>
                <c:pt idx="1716">
                  <c:v>41164</c:v>
                </c:pt>
                <c:pt idx="1717">
                  <c:v>41165</c:v>
                </c:pt>
                <c:pt idx="1718">
                  <c:v>41166</c:v>
                </c:pt>
                <c:pt idx="1719">
                  <c:v>41167</c:v>
                </c:pt>
                <c:pt idx="1720">
                  <c:v>41168</c:v>
                </c:pt>
                <c:pt idx="1721">
                  <c:v>41169</c:v>
                </c:pt>
                <c:pt idx="1722">
                  <c:v>41170</c:v>
                </c:pt>
                <c:pt idx="1723">
                  <c:v>41171</c:v>
                </c:pt>
                <c:pt idx="1724">
                  <c:v>41172</c:v>
                </c:pt>
                <c:pt idx="1725">
                  <c:v>41173</c:v>
                </c:pt>
                <c:pt idx="1726">
                  <c:v>41174</c:v>
                </c:pt>
                <c:pt idx="1727">
                  <c:v>41175</c:v>
                </c:pt>
                <c:pt idx="1728">
                  <c:v>41176</c:v>
                </c:pt>
                <c:pt idx="1729">
                  <c:v>41177</c:v>
                </c:pt>
                <c:pt idx="1730">
                  <c:v>41178</c:v>
                </c:pt>
                <c:pt idx="1731">
                  <c:v>41179</c:v>
                </c:pt>
                <c:pt idx="1732">
                  <c:v>41180</c:v>
                </c:pt>
                <c:pt idx="1733">
                  <c:v>41181</c:v>
                </c:pt>
                <c:pt idx="1734">
                  <c:v>41182</c:v>
                </c:pt>
                <c:pt idx="1735">
                  <c:v>41183</c:v>
                </c:pt>
                <c:pt idx="1736">
                  <c:v>41184</c:v>
                </c:pt>
                <c:pt idx="1737">
                  <c:v>41185</c:v>
                </c:pt>
                <c:pt idx="1738">
                  <c:v>41186</c:v>
                </c:pt>
                <c:pt idx="1739">
                  <c:v>41187</c:v>
                </c:pt>
                <c:pt idx="1740">
                  <c:v>41188</c:v>
                </c:pt>
                <c:pt idx="1741">
                  <c:v>41189</c:v>
                </c:pt>
                <c:pt idx="1742">
                  <c:v>41190</c:v>
                </c:pt>
                <c:pt idx="1743">
                  <c:v>41191</c:v>
                </c:pt>
                <c:pt idx="1744">
                  <c:v>41192</c:v>
                </c:pt>
                <c:pt idx="1745">
                  <c:v>41193</c:v>
                </c:pt>
                <c:pt idx="1746">
                  <c:v>41194</c:v>
                </c:pt>
                <c:pt idx="1747">
                  <c:v>41195</c:v>
                </c:pt>
                <c:pt idx="1748">
                  <c:v>41196</c:v>
                </c:pt>
                <c:pt idx="1749">
                  <c:v>41197</c:v>
                </c:pt>
                <c:pt idx="1750">
                  <c:v>41198</c:v>
                </c:pt>
                <c:pt idx="1751">
                  <c:v>41199</c:v>
                </c:pt>
                <c:pt idx="1752">
                  <c:v>41200</c:v>
                </c:pt>
                <c:pt idx="1753">
                  <c:v>41201</c:v>
                </c:pt>
                <c:pt idx="1754">
                  <c:v>41202</c:v>
                </c:pt>
                <c:pt idx="1755">
                  <c:v>41203</c:v>
                </c:pt>
                <c:pt idx="1756">
                  <c:v>41204</c:v>
                </c:pt>
                <c:pt idx="1757">
                  <c:v>41205</c:v>
                </c:pt>
                <c:pt idx="1758">
                  <c:v>41206</c:v>
                </c:pt>
                <c:pt idx="1759">
                  <c:v>41207</c:v>
                </c:pt>
                <c:pt idx="1760">
                  <c:v>41208</c:v>
                </c:pt>
                <c:pt idx="1761">
                  <c:v>41209</c:v>
                </c:pt>
                <c:pt idx="1762">
                  <c:v>41210</c:v>
                </c:pt>
                <c:pt idx="1763">
                  <c:v>41211</c:v>
                </c:pt>
                <c:pt idx="1764">
                  <c:v>41212</c:v>
                </c:pt>
                <c:pt idx="1765">
                  <c:v>41213</c:v>
                </c:pt>
                <c:pt idx="1766">
                  <c:v>41214</c:v>
                </c:pt>
                <c:pt idx="1767">
                  <c:v>41215</c:v>
                </c:pt>
                <c:pt idx="1768">
                  <c:v>41216</c:v>
                </c:pt>
                <c:pt idx="1769">
                  <c:v>41217</c:v>
                </c:pt>
                <c:pt idx="1770">
                  <c:v>41218</c:v>
                </c:pt>
                <c:pt idx="1771">
                  <c:v>41219</c:v>
                </c:pt>
                <c:pt idx="1772">
                  <c:v>41220</c:v>
                </c:pt>
                <c:pt idx="1773">
                  <c:v>41221</c:v>
                </c:pt>
                <c:pt idx="1774">
                  <c:v>41222</c:v>
                </c:pt>
                <c:pt idx="1775">
                  <c:v>41223</c:v>
                </c:pt>
                <c:pt idx="1776">
                  <c:v>41224</c:v>
                </c:pt>
                <c:pt idx="1777">
                  <c:v>41225</c:v>
                </c:pt>
                <c:pt idx="1778">
                  <c:v>41226</c:v>
                </c:pt>
                <c:pt idx="1779">
                  <c:v>41227</c:v>
                </c:pt>
                <c:pt idx="1780">
                  <c:v>41228</c:v>
                </c:pt>
                <c:pt idx="1781">
                  <c:v>41229</c:v>
                </c:pt>
                <c:pt idx="1782">
                  <c:v>41230</c:v>
                </c:pt>
                <c:pt idx="1783">
                  <c:v>41231</c:v>
                </c:pt>
                <c:pt idx="1784">
                  <c:v>41232</c:v>
                </c:pt>
                <c:pt idx="1785">
                  <c:v>41233</c:v>
                </c:pt>
                <c:pt idx="1786">
                  <c:v>41234</c:v>
                </c:pt>
                <c:pt idx="1787">
                  <c:v>41235</c:v>
                </c:pt>
                <c:pt idx="1788">
                  <c:v>41236</c:v>
                </c:pt>
                <c:pt idx="1789">
                  <c:v>41237</c:v>
                </c:pt>
                <c:pt idx="1790">
                  <c:v>41238</c:v>
                </c:pt>
                <c:pt idx="1791">
                  <c:v>41239</c:v>
                </c:pt>
                <c:pt idx="1792">
                  <c:v>41240</c:v>
                </c:pt>
                <c:pt idx="1793">
                  <c:v>41241</c:v>
                </c:pt>
                <c:pt idx="1794">
                  <c:v>41242</c:v>
                </c:pt>
                <c:pt idx="1795">
                  <c:v>41243</c:v>
                </c:pt>
                <c:pt idx="1796">
                  <c:v>41244</c:v>
                </c:pt>
                <c:pt idx="1797">
                  <c:v>41245</c:v>
                </c:pt>
                <c:pt idx="1798">
                  <c:v>41246</c:v>
                </c:pt>
                <c:pt idx="1799">
                  <c:v>41247</c:v>
                </c:pt>
                <c:pt idx="1800">
                  <c:v>41248</c:v>
                </c:pt>
                <c:pt idx="1801">
                  <c:v>41249</c:v>
                </c:pt>
                <c:pt idx="1802">
                  <c:v>41250</c:v>
                </c:pt>
                <c:pt idx="1803">
                  <c:v>41251</c:v>
                </c:pt>
                <c:pt idx="1804">
                  <c:v>41252</c:v>
                </c:pt>
                <c:pt idx="1805">
                  <c:v>41253</c:v>
                </c:pt>
                <c:pt idx="1806">
                  <c:v>41254</c:v>
                </c:pt>
                <c:pt idx="1807">
                  <c:v>41255</c:v>
                </c:pt>
                <c:pt idx="1808">
                  <c:v>41256</c:v>
                </c:pt>
                <c:pt idx="1809">
                  <c:v>41257</c:v>
                </c:pt>
                <c:pt idx="1810">
                  <c:v>41258</c:v>
                </c:pt>
                <c:pt idx="1811">
                  <c:v>41259</c:v>
                </c:pt>
                <c:pt idx="1812">
                  <c:v>41260</c:v>
                </c:pt>
                <c:pt idx="1813">
                  <c:v>41261</c:v>
                </c:pt>
                <c:pt idx="1814">
                  <c:v>41262</c:v>
                </c:pt>
                <c:pt idx="1815">
                  <c:v>41263</c:v>
                </c:pt>
                <c:pt idx="1816">
                  <c:v>41264</c:v>
                </c:pt>
                <c:pt idx="1817">
                  <c:v>41265</c:v>
                </c:pt>
                <c:pt idx="1818">
                  <c:v>41266</c:v>
                </c:pt>
                <c:pt idx="1819">
                  <c:v>41267</c:v>
                </c:pt>
                <c:pt idx="1820">
                  <c:v>41268</c:v>
                </c:pt>
                <c:pt idx="1821">
                  <c:v>41269</c:v>
                </c:pt>
                <c:pt idx="1822">
                  <c:v>41270</c:v>
                </c:pt>
                <c:pt idx="1823">
                  <c:v>41271</c:v>
                </c:pt>
                <c:pt idx="1824">
                  <c:v>41272</c:v>
                </c:pt>
                <c:pt idx="1825">
                  <c:v>41273</c:v>
                </c:pt>
                <c:pt idx="1826">
                  <c:v>41274</c:v>
                </c:pt>
                <c:pt idx="1827">
                  <c:v>41275</c:v>
                </c:pt>
                <c:pt idx="1828">
                  <c:v>41276</c:v>
                </c:pt>
                <c:pt idx="1829">
                  <c:v>41277</c:v>
                </c:pt>
                <c:pt idx="1830">
                  <c:v>41278</c:v>
                </c:pt>
                <c:pt idx="1831">
                  <c:v>41279</c:v>
                </c:pt>
                <c:pt idx="1832">
                  <c:v>41280</c:v>
                </c:pt>
                <c:pt idx="1833">
                  <c:v>41281</c:v>
                </c:pt>
                <c:pt idx="1834">
                  <c:v>41282</c:v>
                </c:pt>
                <c:pt idx="1835">
                  <c:v>41283</c:v>
                </c:pt>
                <c:pt idx="1836">
                  <c:v>41284</c:v>
                </c:pt>
                <c:pt idx="1837">
                  <c:v>41285</c:v>
                </c:pt>
                <c:pt idx="1838">
                  <c:v>41286</c:v>
                </c:pt>
                <c:pt idx="1839">
                  <c:v>41287</c:v>
                </c:pt>
                <c:pt idx="1840">
                  <c:v>41288</c:v>
                </c:pt>
                <c:pt idx="1841">
                  <c:v>41289</c:v>
                </c:pt>
                <c:pt idx="1842">
                  <c:v>41290</c:v>
                </c:pt>
                <c:pt idx="1843">
                  <c:v>41291</c:v>
                </c:pt>
                <c:pt idx="1844">
                  <c:v>41292</c:v>
                </c:pt>
                <c:pt idx="1845">
                  <c:v>41293</c:v>
                </c:pt>
                <c:pt idx="1846">
                  <c:v>41294</c:v>
                </c:pt>
                <c:pt idx="1847">
                  <c:v>41295</c:v>
                </c:pt>
                <c:pt idx="1848">
                  <c:v>41296</c:v>
                </c:pt>
                <c:pt idx="1849">
                  <c:v>41297</c:v>
                </c:pt>
                <c:pt idx="1850">
                  <c:v>41298</c:v>
                </c:pt>
                <c:pt idx="1851">
                  <c:v>41299</c:v>
                </c:pt>
                <c:pt idx="1852">
                  <c:v>41300</c:v>
                </c:pt>
                <c:pt idx="1853">
                  <c:v>41301</c:v>
                </c:pt>
                <c:pt idx="1854">
                  <c:v>41302</c:v>
                </c:pt>
                <c:pt idx="1855">
                  <c:v>41303</c:v>
                </c:pt>
                <c:pt idx="1856">
                  <c:v>41304</c:v>
                </c:pt>
                <c:pt idx="1857">
                  <c:v>41305</c:v>
                </c:pt>
                <c:pt idx="1858">
                  <c:v>41306</c:v>
                </c:pt>
                <c:pt idx="1859">
                  <c:v>41307</c:v>
                </c:pt>
                <c:pt idx="1860">
                  <c:v>41308</c:v>
                </c:pt>
                <c:pt idx="1861">
                  <c:v>41309</c:v>
                </c:pt>
                <c:pt idx="1862">
                  <c:v>41310</c:v>
                </c:pt>
                <c:pt idx="1863">
                  <c:v>41311</c:v>
                </c:pt>
                <c:pt idx="1864">
                  <c:v>41312</c:v>
                </c:pt>
                <c:pt idx="1865">
                  <c:v>41313</c:v>
                </c:pt>
                <c:pt idx="1866">
                  <c:v>41314</c:v>
                </c:pt>
                <c:pt idx="1867">
                  <c:v>41315</c:v>
                </c:pt>
                <c:pt idx="1868">
                  <c:v>41316</c:v>
                </c:pt>
                <c:pt idx="1869">
                  <c:v>41317</c:v>
                </c:pt>
                <c:pt idx="1870">
                  <c:v>41318</c:v>
                </c:pt>
                <c:pt idx="1871">
                  <c:v>41319</c:v>
                </c:pt>
                <c:pt idx="1872">
                  <c:v>41320</c:v>
                </c:pt>
                <c:pt idx="1873">
                  <c:v>41321</c:v>
                </c:pt>
                <c:pt idx="1874">
                  <c:v>41322</c:v>
                </c:pt>
                <c:pt idx="1875">
                  <c:v>41323</c:v>
                </c:pt>
                <c:pt idx="1876">
                  <c:v>41324</c:v>
                </c:pt>
                <c:pt idx="1877">
                  <c:v>41325</c:v>
                </c:pt>
                <c:pt idx="1878">
                  <c:v>41326</c:v>
                </c:pt>
                <c:pt idx="1879">
                  <c:v>41327</c:v>
                </c:pt>
                <c:pt idx="1880">
                  <c:v>41328</c:v>
                </c:pt>
                <c:pt idx="1881">
                  <c:v>41329</c:v>
                </c:pt>
                <c:pt idx="1882">
                  <c:v>41330</c:v>
                </c:pt>
                <c:pt idx="1883">
                  <c:v>41331</c:v>
                </c:pt>
                <c:pt idx="1884">
                  <c:v>41332</c:v>
                </c:pt>
                <c:pt idx="1885">
                  <c:v>41333</c:v>
                </c:pt>
                <c:pt idx="1886">
                  <c:v>41334</c:v>
                </c:pt>
                <c:pt idx="1887">
                  <c:v>41335</c:v>
                </c:pt>
                <c:pt idx="1888">
                  <c:v>41336</c:v>
                </c:pt>
                <c:pt idx="1889">
                  <c:v>41337</c:v>
                </c:pt>
                <c:pt idx="1890">
                  <c:v>41338</c:v>
                </c:pt>
                <c:pt idx="1891">
                  <c:v>41339</c:v>
                </c:pt>
                <c:pt idx="1892">
                  <c:v>41340</c:v>
                </c:pt>
                <c:pt idx="1893">
                  <c:v>41341</c:v>
                </c:pt>
                <c:pt idx="1894">
                  <c:v>41342</c:v>
                </c:pt>
                <c:pt idx="1895">
                  <c:v>41343</c:v>
                </c:pt>
                <c:pt idx="1896">
                  <c:v>41344</c:v>
                </c:pt>
                <c:pt idx="1897">
                  <c:v>41345</c:v>
                </c:pt>
                <c:pt idx="1898">
                  <c:v>41346</c:v>
                </c:pt>
                <c:pt idx="1899">
                  <c:v>41347</c:v>
                </c:pt>
                <c:pt idx="1900">
                  <c:v>41348</c:v>
                </c:pt>
                <c:pt idx="1901">
                  <c:v>41349</c:v>
                </c:pt>
                <c:pt idx="1902">
                  <c:v>41350</c:v>
                </c:pt>
                <c:pt idx="1903">
                  <c:v>41351</c:v>
                </c:pt>
                <c:pt idx="1904">
                  <c:v>41352</c:v>
                </c:pt>
                <c:pt idx="1905">
                  <c:v>41353</c:v>
                </c:pt>
                <c:pt idx="1906">
                  <c:v>41354</c:v>
                </c:pt>
                <c:pt idx="1907">
                  <c:v>41355</c:v>
                </c:pt>
                <c:pt idx="1908">
                  <c:v>41356</c:v>
                </c:pt>
                <c:pt idx="1909">
                  <c:v>41357</c:v>
                </c:pt>
                <c:pt idx="1910">
                  <c:v>41358</c:v>
                </c:pt>
                <c:pt idx="1911">
                  <c:v>41359</c:v>
                </c:pt>
                <c:pt idx="1912">
                  <c:v>41360</c:v>
                </c:pt>
                <c:pt idx="1913">
                  <c:v>41361</c:v>
                </c:pt>
                <c:pt idx="1914">
                  <c:v>41362</c:v>
                </c:pt>
                <c:pt idx="1915">
                  <c:v>41363</c:v>
                </c:pt>
                <c:pt idx="1916">
                  <c:v>41364</c:v>
                </c:pt>
                <c:pt idx="1917">
                  <c:v>41365</c:v>
                </c:pt>
                <c:pt idx="1918">
                  <c:v>41366</c:v>
                </c:pt>
                <c:pt idx="1919">
                  <c:v>41367</c:v>
                </c:pt>
                <c:pt idx="1920">
                  <c:v>41368</c:v>
                </c:pt>
                <c:pt idx="1921">
                  <c:v>41369</c:v>
                </c:pt>
                <c:pt idx="1922">
                  <c:v>41370</c:v>
                </c:pt>
                <c:pt idx="1923">
                  <c:v>41371</c:v>
                </c:pt>
                <c:pt idx="1924">
                  <c:v>41372</c:v>
                </c:pt>
                <c:pt idx="1925">
                  <c:v>41373</c:v>
                </c:pt>
                <c:pt idx="1926">
                  <c:v>41374</c:v>
                </c:pt>
                <c:pt idx="1927">
                  <c:v>41375</c:v>
                </c:pt>
                <c:pt idx="1928">
                  <c:v>41376</c:v>
                </c:pt>
                <c:pt idx="1929">
                  <c:v>41377</c:v>
                </c:pt>
                <c:pt idx="1930">
                  <c:v>41378</c:v>
                </c:pt>
                <c:pt idx="1931">
                  <c:v>41379</c:v>
                </c:pt>
                <c:pt idx="1932">
                  <c:v>41380</c:v>
                </c:pt>
                <c:pt idx="1933">
                  <c:v>41381</c:v>
                </c:pt>
                <c:pt idx="1934">
                  <c:v>41382</c:v>
                </c:pt>
                <c:pt idx="1935">
                  <c:v>41383</c:v>
                </c:pt>
                <c:pt idx="1936">
                  <c:v>41384</c:v>
                </c:pt>
                <c:pt idx="1937">
                  <c:v>41385</c:v>
                </c:pt>
                <c:pt idx="1938">
                  <c:v>41386</c:v>
                </c:pt>
                <c:pt idx="1939">
                  <c:v>41387</c:v>
                </c:pt>
                <c:pt idx="1940">
                  <c:v>41388</c:v>
                </c:pt>
                <c:pt idx="1941">
                  <c:v>41389</c:v>
                </c:pt>
                <c:pt idx="1942">
                  <c:v>41390</c:v>
                </c:pt>
                <c:pt idx="1943">
                  <c:v>41391</c:v>
                </c:pt>
                <c:pt idx="1944">
                  <c:v>41392</c:v>
                </c:pt>
                <c:pt idx="1945">
                  <c:v>41393</c:v>
                </c:pt>
                <c:pt idx="1946">
                  <c:v>41394</c:v>
                </c:pt>
                <c:pt idx="1947">
                  <c:v>41395</c:v>
                </c:pt>
                <c:pt idx="1948">
                  <c:v>41396</c:v>
                </c:pt>
                <c:pt idx="1949">
                  <c:v>41397</c:v>
                </c:pt>
                <c:pt idx="1950">
                  <c:v>41398</c:v>
                </c:pt>
                <c:pt idx="1951">
                  <c:v>41399</c:v>
                </c:pt>
                <c:pt idx="1952">
                  <c:v>41400</c:v>
                </c:pt>
                <c:pt idx="1953">
                  <c:v>41401</c:v>
                </c:pt>
                <c:pt idx="1954">
                  <c:v>41402</c:v>
                </c:pt>
                <c:pt idx="1955">
                  <c:v>41403</c:v>
                </c:pt>
                <c:pt idx="1956">
                  <c:v>41404</c:v>
                </c:pt>
                <c:pt idx="1957">
                  <c:v>41405</c:v>
                </c:pt>
                <c:pt idx="1958">
                  <c:v>41406</c:v>
                </c:pt>
                <c:pt idx="1959">
                  <c:v>41407</c:v>
                </c:pt>
                <c:pt idx="1960">
                  <c:v>41408</c:v>
                </c:pt>
                <c:pt idx="1961">
                  <c:v>41409</c:v>
                </c:pt>
                <c:pt idx="1962">
                  <c:v>41410</c:v>
                </c:pt>
                <c:pt idx="1963">
                  <c:v>41411</c:v>
                </c:pt>
                <c:pt idx="1964">
                  <c:v>41412</c:v>
                </c:pt>
                <c:pt idx="1965">
                  <c:v>41413</c:v>
                </c:pt>
                <c:pt idx="1966">
                  <c:v>41414</c:v>
                </c:pt>
                <c:pt idx="1967">
                  <c:v>41415</c:v>
                </c:pt>
                <c:pt idx="1968">
                  <c:v>41416</c:v>
                </c:pt>
                <c:pt idx="1969">
                  <c:v>41417</c:v>
                </c:pt>
                <c:pt idx="1970">
                  <c:v>41418</c:v>
                </c:pt>
                <c:pt idx="1971">
                  <c:v>41419</c:v>
                </c:pt>
                <c:pt idx="1972">
                  <c:v>41420</c:v>
                </c:pt>
                <c:pt idx="1973">
                  <c:v>41421</c:v>
                </c:pt>
                <c:pt idx="1974">
                  <c:v>41422</c:v>
                </c:pt>
                <c:pt idx="1975">
                  <c:v>41423</c:v>
                </c:pt>
                <c:pt idx="1976">
                  <c:v>41424</c:v>
                </c:pt>
                <c:pt idx="1977">
                  <c:v>41425</c:v>
                </c:pt>
                <c:pt idx="1978">
                  <c:v>41426</c:v>
                </c:pt>
                <c:pt idx="1979">
                  <c:v>41427</c:v>
                </c:pt>
                <c:pt idx="1980">
                  <c:v>41428</c:v>
                </c:pt>
                <c:pt idx="1981">
                  <c:v>41429</c:v>
                </c:pt>
                <c:pt idx="1982">
                  <c:v>41430</c:v>
                </c:pt>
                <c:pt idx="1983">
                  <c:v>41431</c:v>
                </c:pt>
                <c:pt idx="1984">
                  <c:v>41432</c:v>
                </c:pt>
                <c:pt idx="1985">
                  <c:v>41433</c:v>
                </c:pt>
                <c:pt idx="1986">
                  <c:v>41434</c:v>
                </c:pt>
                <c:pt idx="1987">
                  <c:v>41435</c:v>
                </c:pt>
                <c:pt idx="1988">
                  <c:v>41436</c:v>
                </c:pt>
                <c:pt idx="1989">
                  <c:v>41437</c:v>
                </c:pt>
                <c:pt idx="1990">
                  <c:v>41438</c:v>
                </c:pt>
                <c:pt idx="1991">
                  <c:v>41439</c:v>
                </c:pt>
                <c:pt idx="1992">
                  <c:v>41440</c:v>
                </c:pt>
                <c:pt idx="1993">
                  <c:v>41441</c:v>
                </c:pt>
                <c:pt idx="1994">
                  <c:v>41442</c:v>
                </c:pt>
                <c:pt idx="1995">
                  <c:v>41443</c:v>
                </c:pt>
                <c:pt idx="1996">
                  <c:v>41444</c:v>
                </c:pt>
                <c:pt idx="1997">
                  <c:v>41445</c:v>
                </c:pt>
                <c:pt idx="1998">
                  <c:v>41446</c:v>
                </c:pt>
                <c:pt idx="1999">
                  <c:v>41447</c:v>
                </c:pt>
                <c:pt idx="2000">
                  <c:v>41448</c:v>
                </c:pt>
                <c:pt idx="2001">
                  <c:v>41449</c:v>
                </c:pt>
                <c:pt idx="2002">
                  <c:v>41450</c:v>
                </c:pt>
                <c:pt idx="2003">
                  <c:v>41451</c:v>
                </c:pt>
                <c:pt idx="2004">
                  <c:v>41452</c:v>
                </c:pt>
                <c:pt idx="2005">
                  <c:v>41453</c:v>
                </c:pt>
                <c:pt idx="2006">
                  <c:v>41454</c:v>
                </c:pt>
                <c:pt idx="2007">
                  <c:v>41455</c:v>
                </c:pt>
                <c:pt idx="2008">
                  <c:v>41456</c:v>
                </c:pt>
                <c:pt idx="2009">
                  <c:v>41457</c:v>
                </c:pt>
                <c:pt idx="2010">
                  <c:v>41458</c:v>
                </c:pt>
                <c:pt idx="2011">
                  <c:v>41459</c:v>
                </c:pt>
                <c:pt idx="2012">
                  <c:v>41460</c:v>
                </c:pt>
                <c:pt idx="2013">
                  <c:v>41461</c:v>
                </c:pt>
                <c:pt idx="2014">
                  <c:v>41462</c:v>
                </c:pt>
                <c:pt idx="2015">
                  <c:v>41463</c:v>
                </c:pt>
                <c:pt idx="2016">
                  <c:v>41464</c:v>
                </c:pt>
                <c:pt idx="2017">
                  <c:v>41465</c:v>
                </c:pt>
                <c:pt idx="2018">
                  <c:v>41466</c:v>
                </c:pt>
                <c:pt idx="2019">
                  <c:v>41467</c:v>
                </c:pt>
                <c:pt idx="2020">
                  <c:v>41468</c:v>
                </c:pt>
                <c:pt idx="2021">
                  <c:v>41469</c:v>
                </c:pt>
                <c:pt idx="2022">
                  <c:v>41470</c:v>
                </c:pt>
                <c:pt idx="2023">
                  <c:v>41471</c:v>
                </c:pt>
                <c:pt idx="2024">
                  <c:v>41472</c:v>
                </c:pt>
                <c:pt idx="2025">
                  <c:v>41473</c:v>
                </c:pt>
                <c:pt idx="2026">
                  <c:v>41474</c:v>
                </c:pt>
                <c:pt idx="2027">
                  <c:v>41475</c:v>
                </c:pt>
                <c:pt idx="2028">
                  <c:v>41476</c:v>
                </c:pt>
                <c:pt idx="2029">
                  <c:v>41477</c:v>
                </c:pt>
                <c:pt idx="2030">
                  <c:v>41478</c:v>
                </c:pt>
                <c:pt idx="2031">
                  <c:v>41479</c:v>
                </c:pt>
                <c:pt idx="2032">
                  <c:v>41480</c:v>
                </c:pt>
                <c:pt idx="2033">
                  <c:v>41481</c:v>
                </c:pt>
                <c:pt idx="2034">
                  <c:v>41482</c:v>
                </c:pt>
                <c:pt idx="2035">
                  <c:v>41483</c:v>
                </c:pt>
                <c:pt idx="2036">
                  <c:v>41484</c:v>
                </c:pt>
                <c:pt idx="2037">
                  <c:v>41485</c:v>
                </c:pt>
                <c:pt idx="2038">
                  <c:v>41486</c:v>
                </c:pt>
                <c:pt idx="2039">
                  <c:v>41487</c:v>
                </c:pt>
                <c:pt idx="2040">
                  <c:v>41488</c:v>
                </c:pt>
                <c:pt idx="2041">
                  <c:v>41489</c:v>
                </c:pt>
                <c:pt idx="2042">
                  <c:v>41490</c:v>
                </c:pt>
                <c:pt idx="2043">
                  <c:v>41491</c:v>
                </c:pt>
                <c:pt idx="2044">
                  <c:v>41492</c:v>
                </c:pt>
                <c:pt idx="2045">
                  <c:v>41493</c:v>
                </c:pt>
                <c:pt idx="2046">
                  <c:v>41494</c:v>
                </c:pt>
                <c:pt idx="2047">
                  <c:v>41495</c:v>
                </c:pt>
                <c:pt idx="2048">
                  <c:v>41496</c:v>
                </c:pt>
                <c:pt idx="2049">
                  <c:v>41497</c:v>
                </c:pt>
                <c:pt idx="2050">
                  <c:v>41498</c:v>
                </c:pt>
                <c:pt idx="2051">
                  <c:v>41499</c:v>
                </c:pt>
                <c:pt idx="2052">
                  <c:v>41500</c:v>
                </c:pt>
                <c:pt idx="2053">
                  <c:v>41501</c:v>
                </c:pt>
                <c:pt idx="2054">
                  <c:v>41502</c:v>
                </c:pt>
                <c:pt idx="2055">
                  <c:v>41503</c:v>
                </c:pt>
                <c:pt idx="2056">
                  <c:v>41504</c:v>
                </c:pt>
                <c:pt idx="2057">
                  <c:v>41505</c:v>
                </c:pt>
                <c:pt idx="2058">
                  <c:v>41506</c:v>
                </c:pt>
                <c:pt idx="2059">
                  <c:v>41507</c:v>
                </c:pt>
                <c:pt idx="2060">
                  <c:v>41508</c:v>
                </c:pt>
                <c:pt idx="2061">
                  <c:v>41509</c:v>
                </c:pt>
                <c:pt idx="2062">
                  <c:v>41510</c:v>
                </c:pt>
                <c:pt idx="2063">
                  <c:v>41511</c:v>
                </c:pt>
                <c:pt idx="2064">
                  <c:v>41512</c:v>
                </c:pt>
                <c:pt idx="2065">
                  <c:v>41513</c:v>
                </c:pt>
                <c:pt idx="2066">
                  <c:v>41514</c:v>
                </c:pt>
                <c:pt idx="2067">
                  <c:v>41515</c:v>
                </c:pt>
                <c:pt idx="2068">
                  <c:v>41516</c:v>
                </c:pt>
                <c:pt idx="2069">
                  <c:v>41517</c:v>
                </c:pt>
                <c:pt idx="2070">
                  <c:v>41518</c:v>
                </c:pt>
                <c:pt idx="2071">
                  <c:v>41519</c:v>
                </c:pt>
                <c:pt idx="2072">
                  <c:v>41520</c:v>
                </c:pt>
                <c:pt idx="2073">
                  <c:v>41521</c:v>
                </c:pt>
                <c:pt idx="2074">
                  <c:v>41522</c:v>
                </c:pt>
                <c:pt idx="2075">
                  <c:v>41523</c:v>
                </c:pt>
                <c:pt idx="2076">
                  <c:v>41524</c:v>
                </c:pt>
                <c:pt idx="2077">
                  <c:v>41525</c:v>
                </c:pt>
                <c:pt idx="2078">
                  <c:v>41526</c:v>
                </c:pt>
                <c:pt idx="2079">
                  <c:v>41527</c:v>
                </c:pt>
                <c:pt idx="2080">
                  <c:v>41528</c:v>
                </c:pt>
                <c:pt idx="2081">
                  <c:v>41529</c:v>
                </c:pt>
                <c:pt idx="2082">
                  <c:v>41530</c:v>
                </c:pt>
                <c:pt idx="2083">
                  <c:v>41531</c:v>
                </c:pt>
                <c:pt idx="2084">
                  <c:v>41532</c:v>
                </c:pt>
                <c:pt idx="2085">
                  <c:v>41533</c:v>
                </c:pt>
                <c:pt idx="2086">
                  <c:v>41534</c:v>
                </c:pt>
                <c:pt idx="2087">
                  <c:v>41535</c:v>
                </c:pt>
                <c:pt idx="2088">
                  <c:v>41536</c:v>
                </c:pt>
                <c:pt idx="2089">
                  <c:v>41537</c:v>
                </c:pt>
                <c:pt idx="2090">
                  <c:v>41538</c:v>
                </c:pt>
                <c:pt idx="2091">
                  <c:v>41539</c:v>
                </c:pt>
                <c:pt idx="2092">
                  <c:v>41540</c:v>
                </c:pt>
                <c:pt idx="2093">
                  <c:v>41541</c:v>
                </c:pt>
                <c:pt idx="2094">
                  <c:v>41542</c:v>
                </c:pt>
                <c:pt idx="2095">
                  <c:v>41543</c:v>
                </c:pt>
                <c:pt idx="2096">
                  <c:v>41544</c:v>
                </c:pt>
                <c:pt idx="2097">
                  <c:v>41545</c:v>
                </c:pt>
                <c:pt idx="2098">
                  <c:v>41546</c:v>
                </c:pt>
                <c:pt idx="2099">
                  <c:v>41547</c:v>
                </c:pt>
                <c:pt idx="2100">
                  <c:v>41548</c:v>
                </c:pt>
                <c:pt idx="2101">
                  <c:v>41549</c:v>
                </c:pt>
                <c:pt idx="2102">
                  <c:v>41550</c:v>
                </c:pt>
                <c:pt idx="2103">
                  <c:v>41551</c:v>
                </c:pt>
                <c:pt idx="2104">
                  <c:v>41552</c:v>
                </c:pt>
                <c:pt idx="2105">
                  <c:v>41553</c:v>
                </c:pt>
                <c:pt idx="2106">
                  <c:v>41554</c:v>
                </c:pt>
                <c:pt idx="2107">
                  <c:v>41555</c:v>
                </c:pt>
                <c:pt idx="2108">
                  <c:v>41556</c:v>
                </c:pt>
                <c:pt idx="2109">
                  <c:v>41557</c:v>
                </c:pt>
                <c:pt idx="2110">
                  <c:v>41558</c:v>
                </c:pt>
                <c:pt idx="2111">
                  <c:v>41559</c:v>
                </c:pt>
                <c:pt idx="2112">
                  <c:v>41560</c:v>
                </c:pt>
                <c:pt idx="2113">
                  <c:v>41561</c:v>
                </c:pt>
                <c:pt idx="2114">
                  <c:v>41562</c:v>
                </c:pt>
                <c:pt idx="2115">
                  <c:v>41563</c:v>
                </c:pt>
                <c:pt idx="2116">
                  <c:v>41564</c:v>
                </c:pt>
                <c:pt idx="2117">
                  <c:v>41565</c:v>
                </c:pt>
                <c:pt idx="2118">
                  <c:v>41566</c:v>
                </c:pt>
                <c:pt idx="2119">
                  <c:v>41567</c:v>
                </c:pt>
                <c:pt idx="2120">
                  <c:v>41568</c:v>
                </c:pt>
                <c:pt idx="2121">
                  <c:v>41569</c:v>
                </c:pt>
                <c:pt idx="2122">
                  <c:v>41570</c:v>
                </c:pt>
                <c:pt idx="2123">
                  <c:v>41571</c:v>
                </c:pt>
                <c:pt idx="2124">
                  <c:v>41572</c:v>
                </c:pt>
                <c:pt idx="2125">
                  <c:v>41573</c:v>
                </c:pt>
                <c:pt idx="2126">
                  <c:v>41574</c:v>
                </c:pt>
                <c:pt idx="2127">
                  <c:v>41575</c:v>
                </c:pt>
                <c:pt idx="2128">
                  <c:v>41576</c:v>
                </c:pt>
                <c:pt idx="2129">
                  <c:v>41577</c:v>
                </c:pt>
                <c:pt idx="2130">
                  <c:v>41578</c:v>
                </c:pt>
                <c:pt idx="2131">
                  <c:v>41579</c:v>
                </c:pt>
                <c:pt idx="2132">
                  <c:v>41580</c:v>
                </c:pt>
                <c:pt idx="2133">
                  <c:v>41581</c:v>
                </c:pt>
                <c:pt idx="2134">
                  <c:v>41582</c:v>
                </c:pt>
                <c:pt idx="2135">
                  <c:v>41583</c:v>
                </c:pt>
                <c:pt idx="2136">
                  <c:v>41584</c:v>
                </c:pt>
                <c:pt idx="2137">
                  <c:v>41585</c:v>
                </c:pt>
                <c:pt idx="2138">
                  <c:v>41586</c:v>
                </c:pt>
                <c:pt idx="2139">
                  <c:v>41587</c:v>
                </c:pt>
                <c:pt idx="2140">
                  <c:v>41588</c:v>
                </c:pt>
                <c:pt idx="2141">
                  <c:v>41589</c:v>
                </c:pt>
                <c:pt idx="2142">
                  <c:v>41590</c:v>
                </c:pt>
                <c:pt idx="2143">
                  <c:v>41591</c:v>
                </c:pt>
                <c:pt idx="2144">
                  <c:v>41592</c:v>
                </c:pt>
                <c:pt idx="2145">
                  <c:v>41593</c:v>
                </c:pt>
                <c:pt idx="2146">
                  <c:v>41594</c:v>
                </c:pt>
                <c:pt idx="2147">
                  <c:v>41595</c:v>
                </c:pt>
                <c:pt idx="2148">
                  <c:v>41596</c:v>
                </c:pt>
                <c:pt idx="2149">
                  <c:v>41597</c:v>
                </c:pt>
                <c:pt idx="2150">
                  <c:v>41598</c:v>
                </c:pt>
                <c:pt idx="2151">
                  <c:v>41599</c:v>
                </c:pt>
                <c:pt idx="2152">
                  <c:v>41600</c:v>
                </c:pt>
                <c:pt idx="2153">
                  <c:v>41601</c:v>
                </c:pt>
                <c:pt idx="2154">
                  <c:v>41602</c:v>
                </c:pt>
                <c:pt idx="2155">
                  <c:v>41603</c:v>
                </c:pt>
                <c:pt idx="2156">
                  <c:v>41604</c:v>
                </c:pt>
                <c:pt idx="2157">
                  <c:v>41605</c:v>
                </c:pt>
                <c:pt idx="2158">
                  <c:v>41606</c:v>
                </c:pt>
                <c:pt idx="2159">
                  <c:v>41607</c:v>
                </c:pt>
                <c:pt idx="2160">
                  <c:v>41608</c:v>
                </c:pt>
                <c:pt idx="2161">
                  <c:v>41609</c:v>
                </c:pt>
                <c:pt idx="2162">
                  <c:v>41610</c:v>
                </c:pt>
                <c:pt idx="2163">
                  <c:v>41611</c:v>
                </c:pt>
                <c:pt idx="2164">
                  <c:v>41612</c:v>
                </c:pt>
                <c:pt idx="2165">
                  <c:v>41613</c:v>
                </c:pt>
                <c:pt idx="2166">
                  <c:v>41614</c:v>
                </c:pt>
                <c:pt idx="2167">
                  <c:v>41615</c:v>
                </c:pt>
                <c:pt idx="2168">
                  <c:v>41616</c:v>
                </c:pt>
                <c:pt idx="2169">
                  <c:v>41617</c:v>
                </c:pt>
                <c:pt idx="2170">
                  <c:v>41618</c:v>
                </c:pt>
                <c:pt idx="2171">
                  <c:v>41619</c:v>
                </c:pt>
                <c:pt idx="2172">
                  <c:v>41620</c:v>
                </c:pt>
                <c:pt idx="2173">
                  <c:v>41621</c:v>
                </c:pt>
                <c:pt idx="2174">
                  <c:v>41622</c:v>
                </c:pt>
                <c:pt idx="2175">
                  <c:v>41623</c:v>
                </c:pt>
                <c:pt idx="2176">
                  <c:v>41624</c:v>
                </c:pt>
                <c:pt idx="2177">
                  <c:v>41625</c:v>
                </c:pt>
                <c:pt idx="2178">
                  <c:v>41626</c:v>
                </c:pt>
                <c:pt idx="2179">
                  <c:v>41627</c:v>
                </c:pt>
                <c:pt idx="2180">
                  <c:v>41628</c:v>
                </c:pt>
                <c:pt idx="2181">
                  <c:v>41629</c:v>
                </c:pt>
                <c:pt idx="2182">
                  <c:v>41630</c:v>
                </c:pt>
                <c:pt idx="2183">
                  <c:v>41631</c:v>
                </c:pt>
                <c:pt idx="2184">
                  <c:v>41632</c:v>
                </c:pt>
                <c:pt idx="2185">
                  <c:v>41633</c:v>
                </c:pt>
                <c:pt idx="2186">
                  <c:v>41634</c:v>
                </c:pt>
                <c:pt idx="2187">
                  <c:v>41635</c:v>
                </c:pt>
                <c:pt idx="2188">
                  <c:v>41636</c:v>
                </c:pt>
                <c:pt idx="2189">
                  <c:v>41637</c:v>
                </c:pt>
                <c:pt idx="2190">
                  <c:v>41638</c:v>
                </c:pt>
                <c:pt idx="2191">
                  <c:v>41639</c:v>
                </c:pt>
                <c:pt idx="2192">
                  <c:v>41640</c:v>
                </c:pt>
                <c:pt idx="2193">
                  <c:v>41641</c:v>
                </c:pt>
                <c:pt idx="2194">
                  <c:v>41642</c:v>
                </c:pt>
                <c:pt idx="2195">
                  <c:v>41643</c:v>
                </c:pt>
                <c:pt idx="2196">
                  <c:v>41644</c:v>
                </c:pt>
                <c:pt idx="2197">
                  <c:v>41645</c:v>
                </c:pt>
                <c:pt idx="2198">
                  <c:v>41646</c:v>
                </c:pt>
                <c:pt idx="2199">
                  <c:v>41647</c:v>
                </c:pt>
                <c:pt idx="2200">
                  <c:v>41648</c:v>
                </c:pt>
                <c:pt idx="2201">
                  <c:v>41649</c:v>
                </c:pt>
                <c:pt idx="2202">
                  <c:v>41650</c:v>
                </c:pt>
                <c:pt idx="2203">
                  <c:v>41651</c:v>
                </c:pt>
                <c:pt idx="2204">
                  <c:v>41652</c:v>
                </c:pt>
                <c:pt idx="2205">
                  <c:v>41653</c:v>
                </c:pt>
                <c:pt idx="2206">
                  <c:v>41654</c:v>
                </c:pt>
                <c:pt idx="2207">
                  <c:v>41655</c:v>
                </c:pt>
                <c:pt idx="2208">
                  <c:v>41656</c:v>
                </c:pt>
                <c:pt idx="2209">
                  <c:v>41657</c:v>
                </c:pt>
                <c:pt idx="2210">
                  <c:v>41658</c:v>
                </c:pt>
                <c:pt idx="2211">
                  <c:v>41659</c:v>
                </c:pt>
                <c:pt idx="2212">
                  <c:v>41660</c:v>
                </c:pt>
                <c:pt idx="2213">
                  <c:v>41661</c:v>
                </c:pt>
                <c:pt idx="2214">
                  <c:v>41662</c:v>
                </c:pt>
                <c:pt idx="2215">
                  <c:v>41663</c:v>
                </c:pt>
                <c:pt idx="2216">
                  <c:v>41664</c:v>
                </c:pt>
                <c:pt idx="2217">
                  <c:v>41665</c:v>
                </c:pt>
                <c:pt idx="2218">
                  <c:v>41666</c:v>
                </c:pt>
                <c:pt idx="2219">
                  <c:v>41667</c:v>
                </c:pt>
                <c:pt idx="2220">
                  <c:v>41668</c:v>
                </c:pt>
                <c:pt idx="2221">
                  <c:v>41669</c:v>
                </c:pt>
                <c:pt idx="2222">
                  <c:v>41670</c:v>
                </c:pt>
                <c:pt idx="2223">
                  <c:v>41671</c:v>
                </c:pt>
                <c:pt idx="2224">
                  <c:v>41672</c:v>
                </c:pt>
                <c:pt idx="2225">
                  <c:v>41673</c:v>
                </c:pt>
                <c:pt idx="2226">
                  <c:v>41674</c:v>
                </c:pt>
                <c:pt idx="2227">
                  <c:v>41675</c:v>
                </c:pt>
                <c:pt idx="2228">
                  <c:v>41676</c:v>
                </c:pt>
                <c:pt idx="2229">
                  <c:v>41677</c:v>
                </c:pt>
                <c:pt idx="2230">
                  <c:v>41678</c:v>
                </c:pt>
                <c:pt idx="2231">
                  <c:v>41679</c:v>
                </c:pt>
                <c:pt idx="2232">
                  <c:v>41680</c:v>
                </c:pt>
                <c:pt idx="2233">
                  <c:v>41681</c:v>
                </c:pt>
                <c:pt idx="2234">
                  <c:v>41682</c:v>
                </c:pt>
                <c:pt idx="2235">
                  <c:v>41683</c:v>
                </c:pt>
                <c:pt idx="2236">
                  <c:v>41684</c:v>
                </c:pt>
                <c:pt idx="2237">
                  <c:v>41685</c:v>
                </c:pt>
                <c:pt idx="2238">
                  <c:v>41686</c:v>
                </c:pt>
                <c:pt idx="2239">
                  <c:v>41687</c:v>
                </c:pt>
                <c:pt idx="2240">
                  <c:v>41688</c:v>
                </c:pt>
                <c:pt idx="2241">
                  <c:v>41689</c:v>
                </c:pt>
                <c:pt idx="2242">
                  <c:v>41690</c:v>
                </c:pt>
                <c:pt idx="2243">
                  <c:v>41691</c:v>
                </c:pt>
                <c:pt idx="2244">
                  <c:v>41692</c:v>
                </c:pt>
                <c:pt idx="2245">
                  <c:v>41693</c:v>
                </c:pt>
                <c:pt idx="2246">
                  <c:v>41694</c:v>
                </c:pt>
                <c:pt idx="2247">
                  <c:v>41695</c:v>
                </c:pt>
                <c:pt idx="2248">
                  <c:v>41696</c:v>
                </c:pt>
                <c:pt idx="2249">
                  <c:v>41697</c:v>
                </c:pt>
                <c:pt idx="2250">
                  <c:v>41698</c:v>
                </c:pt>
                <c:pt idx="2251">
                  <c:v>41699</c:v>
                </c:pt>
                <c:pt idx="2252">
                  <c:v>41700</c:v>
                </c:pt>
                <c:pt idx="2253">
                  <c:v>41701</c:v>
                </c:pt>
                <c:pt idx="2254">
                  <c:v>41702</c:v>
                </c:pt>
                <c:pt idx="2255">
                  <c:v>41703</c:v>
                </c:pt>
                <c:pt idx="2256">
                  <c:v>41704</c:v>
                </c:pt>
                <c:pt idx="2257">
                  <c:v>41705</c:v>
                </c:pt>
                <c:pt idx="2258">
                  <c:v>41706</c:v>
                </c:pt>
                <c:pt idx="2259">
                  <c:v>41707</c:v>
                </c:pt>
                <c:pt idx="2260">
                  <c:v>41708</c:v>
                </c:pt>
                <c:pt idx="2261">
                  <c:v>41709</c:v>
                </c:pt>
                <c:pt idx="2262">
                  <c:v>41710</c:v>
                </c:pt>
                <c:pt idx="2263">
                  <c:v>41711</c:v>
                </c:pt>
                <c:pt idx="2264">
                  <c:v>41712</c:v>
                </c:pt>
                <c:pt idx="2265">
                  <c:v>41713</c:v>
                </c:pt>
                <c:pt idx="2266">
                  <c:v>41714</c:v>
                </c:pt>
                <c:pt idx="2267">
                  <c:v>41715</c:v>
                </c:pt>
                <c:pt idx="2268">
                  <c:v>41716</c:v>
                </c:pt>
                <c:pt idx="2269">
                  <c:v>41717</c:v>
                </c:pt>
                <c:pt idx="2270">
                  <c:v>41718</c:v>
                </c:pt>
                <c:pt idx="2271">
                  <c:v>41719</c:v>
                </c:pt>
                <c:pt idx="2272">
                  <c:v>41720</c:v>
                </c:pt>
                <c:pt idx="2273">
                  <c:v>41721</c:v>
                </c:pt>
                <c:pt idx="2274">
                  <c:v>41722</c:v>
                </c:pt>
                <c:pt idx="2275">
                  <c:v>41723</c:v>
                </c:pt>
                <c:pt idx="2276">
                  <c:v>41724</c:v>
                </c:pt>
                <c:pt idx="2277">
                  <c:v>41725</c:v>
                </c:pt>
                <c:pt idx="2278">
                  <c:v>41726</c:v>
                </c:pt>
                <c:pt idx="2279">
                  <c:v>41727</c:v>
                </c:pt>
                <c:pt idx="2280">
                  <c:v>41728</c:v>
                </c:pt>
                <c:pt idx="2281">
                  <c:v>41729</c:v>
                </c:pt>
                <c:pt idx="2282">
                  <c:v>41730</c:v>
                </c:pt>
                <c:pt idx="2283">
                  <c:v>41731</c:v>
                </c:pt>
                <c:pt idx="2284">
                  <c:v>41732</c:v>
                </c:pt>
                <c:pt idx="2285">
                  <c:v>41733</c:v>
                </c:pt>
                <c:pt idx="2286">
                  <c:v>41734</c:v>
                </c:pt>
                <c:pt idx="2287">
                  <c:v>41735</c:v>
                </c:pt>
                <c:pt idx="2288">
                  <c:v>41736</c:v>
                </c:pt>
                <c:pt idx="2289">
                  <c:v>41737</c:v>
                </c:pt>
                <c:pt idx="2290">
                  <c:v>41738</c:v>
                </c:pt>
                <c:pt idx="2291">
                  <c:v>41739</c:v>
                </c:pt>
                <c:pt idx="2292">
                  <c:v>41740</c:v>
                </c:pt>
                <c:pt idx="2293">
                  <c:v>41741</c:v>
                </c:pt>
                <c:pt idx="2294">
                  <c:v>41742</c:v>
                </c:pt>
                <c:pt idx="2295">
                  <c:v>41743</c:v>
                </c:pt>
                <c:pt idx="2296">
                  <c:v>41744</c:v>
                </c:pt>
                <c:pt idx="2297">
                  <c:v>41745</c:v>
                </c:pt>
                <c:pt idx="2298">
                  <c:v>41746</c:v>
                </c:pt>
                <c:pt idx="2299">
                  <c:v>41747</c:v>
                </c:pt>
                <c:pt idx="2300">
                  <c:v>41748</c:v>
                </c:pt>
                <c:pt idx="2301">
                  <c:v>41749</c:v>
                </c:pt>
                <c:pt idx="2302">
                  <c:v>41750</c:v>
                </c:pt>
                <c:pt idx="2303">
                  <c:v>41751</c:v>
                </c:pt>
                <c:pt idx="2304">
                  <c:v>41752</c:v>
                </c:pt>
                <c:pt idx="2305">
                  <c:v>41753</c:v>
                </c:pt>
                <c:pt idx="2306">
                  <c:v>41754</c:v>
                </c:pt>
                <c:pt idx="2307">
                  <c:v>41755</c:v>
                </c:pt>
                <c:pt idx="2308">
                  <c:v>41756</c:v>
                </c:pt>
                <c:pt idx="2309">
                  <c:v>41757</c:v>
                </c:pt>
                <c:pt idx="2310">
                  <c:v>41758</c:v>
                </c:pt>
                <c:pt idx="2311">
                  <c:v>41759</c:v>
                </c:pt>
                <c:pt idx="2312">
                  <c:v>41760</c:v>
                </c:pt>
                <c:pt idx="2313">
                  <c:v>41761</c:v>
                </c:pt>
                <c:pt idx="2314">
                  <c:v>41762</c:v>
                </c:pt>
                <c:pt idx="2315">
                  <c:v>41763</c:v>
                </c:pt>
                <c:pt idx="2316">
                  <c:v>41764</c:v>
                </c:pt>
                <c:pt idx="2317">
                  <c:v>41765</c:v>
                </c:pt>
                <c:pt idx="2318">
                  <c:v>41766</c:v>
                </c:pt>
                <c:pt idx="2319">
                  <c:v>41767</c:v>
                </c:pt>
                <c:pt idx="2320">
                  <c:v>41768</c:v>
                </c:pt>
                <c:pt idx="2321">
                  <c:v>41769</c:v>
                </c:pt>
                <c:pt idx="2322">
                  <c:v>41770</c:v>
                </c:pt>
                <c:pt idx="2323">
                  <c:v>41771</c:v>
                </c:pt>
                <c:pt idx="2324">
                  <c:v>41772</c:v>
                </c:pt>
                <c:pt idx="2325">
                  <c:v>41773</c:v>
                </c:pt>
                <c:pt idx="2326">
                  <c:v>41774</c:v>
                </c:pt>
                <c:pt idx="2327">
                  <c:v>41775</c:v>
                </c:pt>
                <c:pt idx="2328">
                  <c:v>41776</c:v>
                </c:pt>
                <c:pt idx="2329">
                  <c:v>41777</c:v>
                </c:pt>
                <c:pt idx="2330">
                  <c:v>41778</c:v>
                </c:pt>
                <c:pt idx="2331">
                  <c:v>41779</c:v>
                </c:pt>
                <c:pt idx="2332">
                  <c:v>41780</c:v>
                </c:pt>
                <c:pt idx="2333">
                  <c:v>41781</c:v>
                </c:pt>
                <c:pt idx="2334">
                  <c:v>41782</c:v>
                </c:pt>
                <c:pt idx="2335">
                  <c:v>41783</c:v>
                </c:pt>
                <c:pt idx="2336">
                  <c:v>41784</c:v>
                </c:pt>
                <c:pt idx="2337">
                  <c:v>41785</c:v>
                </c:pt>
                <c:pt idx="2338">
                  <c:v>41786</c:v>
                </c:pt>
                <c:pt idx="2339">
                  <c:v>41787</c:v>
                </c:pt>
                <c:pt idx="2340">
                  <c:v>41788</c:v>
                </c:pt>
                <c:pt idx="2341">
                  <c:v>41789</c:v>
                </c:pt>
                <c:pt idx="2342">
                  <c:v>41790</c:v>
                </c:pt>
                <c:pt idx="2343">
                  <c:v>41791</c:v>
                </c:pt>
                <c:pt idx="2344">
                  <c:v>41792</c:v>
                </c:pt>
                <c:pt idx="2345">
                  <c:v>41793</c:v>
                </c:pt>
                <c:pt idx="2346">
                  <c:v>41794</c:v>
                </c:pt>
                <c:pt idx="2347">
                  <c:v>41795</c:v>
                </c:pt>
                <c:pt idx="2348">
                  <c:v>41796</c:v>
                </c:pt>
                <c:pt idx="2349">
                  <c:v>41797</c:v>
                </c:pt>
                <c:pt idx="2350">
                  <c:v>41798</c:v>
                </c:pt>
                <c:pt idx="2351">
                  <c:v>41799</c:v>
                </c:pt>
                <c:pt idx="2352">
                  <c:v>41800</c:v>
                </c:pt>
                <c:pt idx="2353">
                  <c:v>41801</c:v>
                </c:pt>
                <c:pt idx="2354">
                  <c:v>41802</c:v>
                </c:pt>
                <c:pt idx="2355">
                  <c:v>41803</c:v>
                </c:pt>
                <c:pt idx="2356">
                  <c:v>41804</c:v>
                </c:pt>
                <c:pt idx="2357">
                  <c:v>41805</c:v>
                </c:pt>
                <c:pt idx="2358">
                  <c:v>41806</c:v>
                </c:pt>
                <c:pt idx="2359">
                  <c:v>41807</c:v>
                </c:pt>
                <c:pt idx="2360">
                  <c:v>41808</c:v>
                </c:pt>
                <c:pt idx="2361">
                  <c:v>41809</c:v>
                </c:pt>
                <c:pt idx="2362">
                  <c:v>41810</c:v>
                </c:pt>
                <c:pt idx="2363">
                  <c:v>41811</c:v>
                </c:pt>
                <c:pt idx="2364">
                  <c:v>41812</c:v>
                </c:pt>
                <c:pt idx="2365">
                  <c:v>41813</c:v>
                </c:pt>
                <c:pt idx="2366">
                  <c:v>41814</c:v>
                </c:pt>
                <c:pt idx="2367">
                  <c:v>41815</c:v>
                </c:pt>
                <c:pt idx="2368">
                  <c:v>41816</c:v>
                </c:pt>
                <c:pt idx="2369">
                  <c:v>41817</c:v>
                </c:pt>
                <c:pt idx="2370">
                  <c:v>41818</c:v>
                </c:pt>
                <c:pt idx="2371">
                  <c:v>41819</c:v>
                </c:pt>
                <c:pt idx="2372">
                  <c:v>41820</c:v>
                </c:pt>
                <c:pt idx="2373">
                  <c:v>41821</c:v>
                </c:pt>
                <c:pt idx="2374">
                  <c:v>41822</c:v>
                </c:pt>
                <c:pt idx="2375">
                  <c:v>41823</c:v>
                </c:pt>
                <c:pt idx="2376">
                  <c:v>41824</c:v>
                </c:pt>
                <c:pt idx="2377">
                  <c:v>41825</c:v>
                </c:pt>
                <c:pt idx="2378">
                  <c:v>41826</c:v>
                </c:pt>
                <c:pt idx="2379">
                  <c:v>41827</c:v>
                </c:pt>
                <c:pt idx="2380">
                  <c:v>41828</c:v>
                </c:pt>
                <c:pt idx="2381">
                  <c:v>41829</c:v>
                </c:pt>
                <c:pt idx="2382">
                  <c:v>41830</c:v>
                </c:pt>
                <c:pt idx="2383">
                  <c:v>41831</c:v>
                </c:pt>
                <c:pt idx="2384">
                  <c:v>41832</c:v>
                </c:pt>
                <c:pt idx="2385">
                  <c:v>41833</c:v>
                </c:pt>
                <c:pt idx="2386">
                  <c:v>41834</c:v>
                </c:pt>
                <c:pt idx="2387">
                  <c:v>41835</c:v>
                </c:pt>
                <c:pt idx="2388">
                  <c:v>41836</c:v>
                </c:pt>
                <c:pt idx="2389">
                  <c:v>41837</c:v>
                </c:pt>
                <c:pt idx="2390">
                  <c:v>41838</c:v>
                </c:pt>
                <c:pt idx="2391">
                  <c:v>41839</c:v>
                </c:pt>
                <c:pt idx="2392">
                  <c:v>41840</c:v>
                </c:pt>
                <c:pt idx="2393">
                  <c:v>41841</c:v>
                </c:pt>
                <c:pt idx="2394">
                  <c:v>41842</c:v>
                </c:pt>
                <c:pt idx="2395">
                  <c:v>41843</c:v>
                </c:pt>
                <c:pt idx="2396">
                  <c:v>41844</c:v>
                </c:pt>
                <c:pt idx="2397">
                  <c:v>41845</c:v>
                </c:pt>
                <c:pt idx="2398">
                  <c:v>41846</c:v>
                </c:pt>
                <c:pt idx="2399">
                  <c:v>41847</c:v>
                </c:pt>
                <c:pt idx="2400">
                  <c:v>41848</c:v>
                </c:pt>
                <c:pt idx="2401">
                  <c:v>41849</c:v>
                </c:pt>
                <c:pt idx="2402">
                  <c:v>41850</c:v>
                </c:pt>
                <c:pt idx="2403">
                  <c:v>41851</c:v>
                </c:pt>
                <c:pt idx="2404">
                  <c:v>41852</c:v>
                </c:pt>
                <c:pt idx="2405">
                  <c:v>41853</c:v>
                </c:pt>
                <c:pt idx="2406">
                  <c:v>41854</c:v>
                </c:pt>
                <c:pt idx="2407">
                  <c:v>41855</c:v>
                </c:pt>
                <c:pt idx="2408">
                  <c:v>41856</c:v>
                </c:pt>
                <c:pt idx="2409">
                  <c:v>41857</c:v>
                </c:pt>
                <c:pt idx="2410">
                  <c:v>41858</c:v>
                </c:pt>
                <c:pt idx="2411">
                  <c:v>41859</c:v>
                </c:pt>
                <c:pt idx="2412">
                  <c:v>41860</c:v>
                </c:pt>
                <c:pt idx="2413">
                  <c:v>41861</c:v>
                </c:pt>
                <c:pt idx="2414">
                  <c:v>41862</c:v>
                </c:pt>
                <c:pt idx="2415">
                  <c:v>41863</c:v>
                </c:pt>
                <c:pt idx="2416">
                  <c:v>41864</c:v>
                </c:pt>
                <c:pt idx="2417">
                  <c:v>41865</c:v>
                </c:pt>
                <c:pt idx="2418">
                  <c:v>41866</c:v>
                </c:pt>
                <c:pt idx="2419">
                  <c:v>41867</c:v>
                </c:pt>
                <c:pt idx="2420">
                  <c:v>41868</c:v>
                </c:pt>
                <c:pt idx="2421">
                  <c:v>41869</c:v>
                </c:pt>
                <c:pt idx="2422">
                  <c:v>41870</c:v>
                </c:pt>
                <c:pt idx="2423">
                  <c:v>41871</c:v>
                </c:pt>
                <c:pt idx="2424">
                  <c:v>41872</c:v>
                </c:pt>
                <c:pt idx="2425">
                  <c:v>41873</c:v>
                </c:pt>
                <c:pt idx="2426">
                  <c:v>41874</c:v>
                </c:pt>
                <c:pt idx="2427">
                  <c:v>41875</c:v>
                </c:pt>
                <c:pt idx="2428">
                  <c:v>41876</c:v>
                </c:pt>
                <c:pt idx="2429">
                  <c:v>41877</c:v>
                </c:pt>
                <c:pt idx="2430">
                  <c:v>41878</c:v>
                </c:pt>
                <c:pt idx="2431">
                  <c:v>41879</c:v>
                </c:pt>
                <c:pt idx="2432">
                  <c:v>41880</c:v>
                </c:pt>
                <c:pt idx="2433">
                  <c:v>41881</c:v>
                </c:pt>
                <c:pt idx="2434">
                  <c:v>41882</c:v>
                </c:pt>
                <c:pt idx="2435">
                  <c:v>41883</c:v>
                </c:pt>
                <c:pt idx="2436">
                  <c:v>41884</c:v>
                </c:pt>
                <c:pt idx="2437">
                  <c:v>41885</c:v>
                </c:pt>
                <c:pt idx="2438">
                  <c:v>41886</c:v>
                </c:pt>
                <c:pt idx="2439">
                  <c:v>41887</c:v>
                </c:pt>
                <c:pt idx="2440">
                  <c:v>41888</c:v>
                </c:pt>
                <c:pt idx="2441">
                  <c:v>41889</c:v>
                </c:pt>
                <c:pt idx="2442">
                  <c:v>41890</c:v>
                </c:pt>
                <c:pt idx="2443">
                  <c:v>41891</c:v>
                </c:pt>
                <c:pt idx="2444">
                  <c:v>41892</c:v>
                </c:pt>
                <c:pt idx="2445">
                  <c:v>41893</c:v>
                </c:pt>
                <c:pt idx="2446">
                  <c:v>41894</c:v>
                </c:pt>
                <c:pt idx="2447">
                  <c:v>41895</c:v>
                </c:pt>
                <c:pt idx="2448">
                  <c:v>41896</c:v>
                </c:pt>
                <c:pt idx="2449">
                  <c:v>41897</c:v>
                </c:pt>
                <c:pt idx="2450">
                  <c:v>41898</c:v>
                </c:pt>
                <c:pt idx="2451">
                  <c:v>41899</c:v>
                </c:pt>
                <c:pt idx="2452">
                  <c:v>41900</c:v>
                </c:pt>
                <c:pt idx="2453">
                  <c:v>41901</c:v>
                </c:pt>
                <c:pt idx="2454">
                  <c:v>41902</c:v>
                </c:pt>
                <c:pt idx="2455">
                  <c:v>41903</c:v>
                </c:pt>
                <c:pt idx="2456">
                  <c:v>41904</c:v>
                </c:pt>
                <c:pt idx="2457">
                  <c:v>41905</c:v>
                </c:pt>
                <c:pt idx="2458">
                  <c:v>41906</c:v>
                </c:pt>
                <c:pt idx="2459">
                  <c:v>41907</c:v>
                </c:pt>
                <c:pt idx="2460">
                  <c:v>41908</c:v>
                </c:pt>
                <c:pt idx="2461">
                  <c:v>41909</c:v>
                </c:pt>
                <c:pt idx="2462">
                  <c:v>41910</c:v>
                </c:pt>
                <c:pt idx="2463">
                  <c:v>41911</c:v>
                </c:pt>
                <c:pt idx="2464">
                  <c:v>41912</c:v>
                </c:pt>
                <c:pt idx="2465">
                  <c:v>41913</c:v>
                </c:pt>
                <c:pt idx="2466">
                  <c:v>41914</c:v>
                </c:pt>
                <c:pt idx="2467">
                  <c:v>41915</c:v>
                </c:pt>
                <c:pt idx="2468">
                  <c:v>41916</c:v>
                </c:pt>
                <c:pt idx="2469">
                  <c:v>41917</c:v>
                </c:pt>
                <c:pt idx="2470">
                  <c:v>41918</c:v>
                </c:pt>
                <c:pt idx="2471">
                  <c:v>41919</c:v>
                </c:pt>
                <c:pt idx="2472">
                  <c:v>41920</c:v>
                </c:pt>
                <c:pt idx="2473">
                  <c:v>41921</c:v>
                </c:pt>
                <c:pt idx="2474">
                  <c:v>41922</c:v>
                </c:pt>
                <c:pt idx="2475">
                  <c:v>41923</c:v>
                </c:pt>
                <c:pt idx="2476">
                  <c:v>41924</c:v>
                </c:pt>
                <c:pt idx="2477">
                  <c:v>41925</c:v>
                </c:pt>
                <c:pt idx="2478">
                  <c:v>41926</c:v>
                </c:pt>
                <c:pt idx="2479">
                  <c:v>41927</c:v>
                </c:pt>
                <c:pt idx="2480">
                  <c:v>41928</c:v>
                </c:pt>
                <c:pt idx="2481">
                  <c:v>41929</c:v>
                </c:pt>
                <c:pt idx="2482">
                  <c:v>41930</c:v>
                </c:pt>
                <c:pt idx="2483">
                  <c:v>41931</c:v>
                </c:pt>
                <c:pt idx="2484">
                  <c:v>41932</c:v>
                </c:pt>
                <c:pt idx="2485">
                  <c:v>41933</c:v>
                </c:pt>
                <c:pt idx="2486">
                  <c:v>41934</c:v>
                </c:pt>
                <c:pt idx="2487">
                  <c:v>41935</c:v>
                </c:pt>
                <c:pt idx="2488">
                  <c:v>41936</c:v>
                </c:pt>
                <c:pt idx="2489">
                  <c:v>41937</c:v>
                </c:pt>
                <c:pt idx="2490">
                  <c:v>41938</c:v>
                </c:pt>
                <c:pt idx="2491">
                  <c:v>41939</c:v>
                </c:pt>
                <c:pt idx="2492">
                  <c:v>41940</c:v>
                </c:pt>
                <c:pt idx="2493">
                  <c:v>41941</c:v>
                </c:pt>
                <c:pt idx="2494">
                  <c:v>41942</c:v>
                </c:pt>
                <c:pt idx="2495">
                  <c:v>41943</c:v>
                </c:pt>
                <c:pt idx="2496">
                  <c:v>41944</c:v>
                </c:pt>
                <c:pt idx="2497">
                  <c:v>41945</c:v>
                </c:pt>
                <c:pt idx="2498">
                  <c:v>41946</c:v>
                </c:pt>
                <c:pt idx="2499">
                  <c:v>41947</c:v>
                </c:pt>
                <c:pt idx="2500">
                  <c:v>41948</c:v>
                </c:pt>
                <c:pt idx="2501">
                  <c:v>41949</c:v>
                </c:pt>
                <c:pt idx="2502">
                  <c:v>41950</c:v>
                </c:pt>
                <c:pt idx="2503">
                  <c:v>41951</c:v>
                </c:pt>
                <c:pt idx="2504">
                  <c:v>41952</c:v>
                </c:pt>
                <c:pt idx="2505">
                  <c:v>41953</c:v>
                </c:pt>
                <c:pt idx="2506">
                  <c:v>41954</c:v>
                </c:pt>
                <c:pt idx="2507">
                  <c:v>41955</c:v>
                </c:pt>
                <c:pt idx="2508">
                  <c:v>41956</c:v>
                </c:pt>
                <c:pt idx="2509">
                  <c:v>41957</c:v>
                </c:pt>
                <c:pt idx="2510">
                  <c:v>41958</c:v>
                </c:pt>
                <c:pt idx="2511">
                  <c:v>41959</c:v>
                </c:pt>
                <c:pt idx="2512">
                  <c:v>41960</c:v>
                </c:pt>
                <c:pt idx="2513">
                  <c:v>41961</c:v>
                </c:pt>
                <c:pt idx="2514">
                  <c:v>41962</c:v>
                </c:pt>
                <c:pt idx="2515">
                  <c:v>41963</c:v>
                </c:pt>
                <c:pt idx="2516">
                  <c:v>41964</c:v>
                </c:pt>
                <c:pt idx="2517">
                  <c:v>41965</c:v>
                </c:pt>
                <c:pt idx="2518">
                  <c:v>41966</c:v>
                </c:pt>
                <c:pt idx="2519">
                  <c:v>41967</c:v>
                </c:pt>
                <c:pt idx="2520">
                  <c:v>41968</c:v>
                </c:pt>
                <c:pt idx="2521">
                  <c:v>41969</c:v>
                </c:pt>
                <c:pt idx="2522">
                  <c:v>41970</c:v>
                </c:pt>
                <c:pt idx="2523">
                  <c:v>41971</c:v>
                </c:pt>
                <c:pt idx="2524">
                  <c:v>41972</c:v>
                </c:pt>
                <c:pt idx="2525">
                  <c:v>41973</c:v>
                </c:pt>
                <c:pt idx="2526">
                  <c:v>41974</c:v>
                </c:pt>
                <c:pt idx="2527">
                  <c:v>41975</c:v>
                </c:pt>
                <c:pt idx="2528">
                  <c:v>41976</c:v>
                </c:pt>
                <c:pt idx="2529">
                  <c:v>41977</c:v>
                </c:pt>
                <c:pt idx="2530">
                  <c:v>41978</c:v>
                </c:pt>
                <c:pt idx="2531">
                  <c:v>41979</c:v>
                </c:pt>
                <c:pt idx="2532">
                  <c:v>41980</c:v>
                </c:pt>
                <c:pt idx="2533">
                  <c:v>41981</c:v>
                </c:pt>
                <c:pt idx="2534">
                  <c:v>41982</c:v>
                </c:pt>
                <c:pt idx="2535">
                  <c:v>41983</c:v>
                </c:pt>
                <c:pt idx="2536">
                  <c:v>41984</c:v>
                </c:pt>
                <c:pt idx="2537">
                  <c:v>41985</c:v>
                </c:pt>
                <c:pt idx="2538">
                  <c:v>41986</c:v>
                </c:pt>
                <c:pt idx="2539">
                  <c:v>41987</c:v>
                </c:pt>
                <c:pt idx="2540">
                  <c:v>41988</c:v>
                </c:pt>
                <c:pt idx="2541">
                  <c:v>41989</c:v>
                </c:pt>
                <c:pt idx="2542">
                  <c:v>41990</c:v>
                </c:pt>
                <c:pt idx="2543">
                  <c:v>41991</c:v>
                </c:pt>
                <c:pt idx="2544">
                  <c:v>41992</c:v>
                </c:pt>
                <c:pt idx="2545">
                  <c:v>41993</c:v>
                </c:pt>
                <c:pt idx="2546">
                  <c:v>41994</c:v>
                </c:pt>
                <c:pt idx="2547">
                  <c:v>41995</c:v>
                </c:pt>
                <c:pt idx="2548">
                  <c:v>41996</c:v>
                </c:pt>
                <c:pt idx="2549">
                  <c:v>41997</c:v>
                </c:pt>
                <c:pt idx="2550">
                  <c:v>41998</c:v>
                </c:pt>
                <c:pt idx="2551">
                  <c:v>41999</c:v>
                </c:pt>
                <c:pt idx="2552">
                  <c:v>42000</c:v>
                </c:pt>
                <c:pt idx="2553">
                  <c:v>42001</c:v>
                </c:pt>
                <c:pt idx="2554">
                  <c:v>42002</c:v>
                </c:pt>
                <c:pt idx="2555">
                  <c:v>42003</c:v>
                </c:pt>
                <c:pt idx="2556">
                  <c:v>42004</c:v>
                </c:pt>
                <c:pt idx="2557">
                  <c:v>42005</c:v>
                </c:pt>
                <c:pt idx="2558">
                  <c:v>42006</c:v>
                </c:pt>
                <c:pt idx="2559">
                  <c:v>42007</c:v>
                </c:pt>
                <c:pt idx="2560">
                  <c:v>42008</c:v>
                </c:pt>
                <c:pt idx="2561">
                  <c:v>42009</c:v>
                </c:pt>
                <c:pt idx="2562">
                  <c:v>42010</c:v>
                </c:pt>
                <c:pt idx="2563">
                  <c:v>42011</c:v>
                </c:pt>
                <c:pt idx="2564">
                  <c:v>42012</c:v>
                </c:pt>
                <c:pt idx="2565">
                  <c:v>42013</c:v>
                </c:pt>
                <c:pt idx="2566">
                  <c:v>42014</c:v>
                </c:pt>
                <c:pt idx="2567">
                  <c:v>42015</c:v>
                </c:pt>
                <c:pt idx="2568">
                  <c:v>42016</c:v>
                </c:pt>
                <c:pt idx="2569">
                  <c:v>42017</c:v>
                </c:pt>
                <c:pt idx="2570">
                  <c:v>42018</c:v>
                </c:pt>
                <c:pt idx="2571">
                  <c:v>42019</c:v>
                </c:pt>
                <c:pt idx="2572">
                  <c:v>42020</c:v>
                </c:pt>
                <c:pt idx="2573">
                  <c:v>42021</c:v>
                </c:pt>
                <c:pt idx="2574">
                  <c:v>42022</c:v>
                </c:pt>
                <c:pt idx="2575">
                  <c:v>42023</c:v>
                </c:pt>
                <c:pt idx="2576">
                  <c:v>42024</c:v>
                </c:pt>
                <c:pt idx="2577">
                  <c:v>42025</c:v>
                </c:pt>
                <c:pt idx="2578">
                  <c:v>42026</c:v>
                </c:pt>
                <c:pt idx="2579">
                  <c:v>42027</c:v>
                </c:pt>
                <c:pt idx="2580">
                  <c:v>42028</c:v>
                </c:pt>
                <c:pt idx="2581">
                  <c:v>42029</c:v>
                </c:pt>
                <c:pt idx="2582">
                  <c:v>42030</c:v>
                </c:pt>
                <c:pt idx="2583">
                  <c:v>42031</c:v>
                </c:pt>
                <c:pt idx="2584">
                  <c:v>42032</c:v>
                </c:pt>
                <c:pt idx="2585">
                  <c:v>42033</c:v>
                </c:pt>
                <c:pt idx="2586">
                  <c:v>42034</c:v>
                </c:pt>
                <c:pt idx="2587">
                  <c:v>42035</c:v>
                </c:pt>
                <c:pt idx="2588">
                  <c:v>42036</c:v>
                </c:pt>
                <c:pt idx="2589">
                  <c:v>42037</c:v>
                </c:pt>
                <c:pt idx="2590">
                  <c:v>42038</c:v>
                </c:pt>
                <c:pt idx="2591">
                  <c:v>42039</c:v>
                </c:pt>
                <c:pt idx="2592">
                  <c:v>42040</c:v>
                </c:pt>
                <c:pt idx="2593">
                  <c:v>42041</c:v>
                </c:pt>
                <c:pt idx="2594">
                  <c:v>42042</c:v>
                </c:pt>
                <c:pt idx="2595">
                  <c:v>42043</c:v>
                </c:pt>
                <c:pt idx="2596">
                  <c:v>42044</c:v>
                </c:pt>
                <c:pt idx="2597">
                  <c:v>42045</c:v>
                </c:pt>
                <c:pt idx="2598">
                  <c:v>42046</c:v>
                </c:pt>
                <c:pt idx="2599">
                  <c:v>42047</c:v>
                </c:pt>
                <c:pt idx="2600">
                  <c:v>42048</c:v>
                </c:pt>
                <c:pt idx="2601">
                  <c:v>42049</c:v>
                </c:pt>
                <c:pt idx="2602">
                  <c:v>42050</c:v>
                </c:pt>
                <c:pt idx="2603">
                  <c:v>42051</c:v>
                </c:pt>
                <c:pt idx="2604">
                  <c:v>42052</c:v>
                </c:pt>
                <c:pt idx="2605">
                  <c:v>42053</c:v>
                </c:pt>
                <c:pt idx="2606">
                  <c:v>42054</c:v>
                </c:pt>
                <c:pt idx="2607">
                  <c:v>42055</c:v>
                </c:pt>
                <c:pt idx="2608">
                  <c:v>42056</c:v>
                </c:pt>
                <c:pt idx="2609">
                  <c:v>42057</c:v>
                </c:pt>
                <c:pt idx="2610">
                  <c:v>42058</c:v>
                </c:pt>
                <c:pt idx="2611">
                  <c:v>42059</c:v>
                </c:pt>
                <c:pt idx="2612">
                  <c:v>42060</c:v>
                </c:pt>
                <c:pt idx="2613">
                  <c:v>42061</c:v>
                </c:pt>
                <c:pt idx="2614">
                  <c:v>42062</c:v>
                </c:pt>
                <c:pt idx="2615">
                  <c:v>42063</c:v>
                </c:pt>
                <c:pt idx="2616">
                  <c:v>42064</c:v>
                </c:pt>
                <c:pt idx="2617">
                  <c:v>42065</c:v>
                </c:pt>
                <c:pt idx="2618">
                  <c:v>42066</c:v>
                </c:pt>
                <c:pt idx="2619">
                  <c:v>42067</c:v>
                </c:pt>
                <c:pt idx="2620">
                  <c:v>42068</c:v>
                </c:pt>
                <c:pt idx="2621">
                  <c:v>42069</c:v>
                </c:pt>
                <c:pt idx="2622">
                  <c:v>42070</c:v>
                </c:pt>
                <c:pt idx="2623">
                  <c:v>42071</c:v>
                </c:pt>
                <c:pt idx="2624">
                  <c:v>42072</c:v>
                </c:pt>
                <c:pt idx="2625">
                  <c:v>42073</c:v>
                </c:pt>
                <c:pt idx="2626">
                  <c:v>42074</c:v>
                </c:pt>
                <c:pt idx="2627">
                  <c:v>42075</c:v>
                </c:pt>
                <c:pt idx="2628">
                  <c:v>42076</c:v>
                </c:pt>
                <c:pt idx="2629">
                  <c:v>42077</c:v>
                </c:pt>
                <c:pt idx="2630">
                  <c:v>42078</c:v>
                </c:pt>
                <c:pt idx="2631">
                  <c:v>42079</c:v>
                </c:pt>
                <c:pt idx="2632">
                  <c:v>42080</c:v>
                </c:pt>
                <c:pt idx="2633">
                  <c:v>42081</c:v>
                </c:pt>
                <c:pt idx="2634">
                  <c:v>42082</c:v>
                </c:pt>
                <c:pt idx="2635">
                  <c:v>42083</c:v>
                </c:pt>
                <c:pt idx="2636">
                  <c:v>42084</c:v>
                </c:pt>
                <c:pt idx="2637">
                  <c:v>42085</c:v>
                </c:pt>
                <c:pt idx="2638">
                  <c:v>42086</c:v>
                </c:pt>
                <c:pt idx="2639">
                  <c:v>42087</c:v>
                </c:pt>
                <c:pt idx="2640">
                  <c:v>42088</c:v>
                </c:pt>
                <c:pt idx="2641">
                  <c:v>42089</c:v>
                </c:pt>
                <c:pt idx="2642">
                  <c:v>42090</c:v>
                </c:pt>
                <c:pt idx="2643">
                  <c:v>42091</c:v>
                </c:pt>
                <c:pt idx="2644">
                  <c:v>42092</c:v>
                </c:pt>
                <c:pt idx="2645">
                  <c:v>42093</c:v>
                </c:pt>
                <c:pt idx="2646">
                  <c:v>42094</c:v>
                </c:pt>
                <c:pt idx="2647">
                  <c:v>42095</c:v>
                </c:pt>
                <c:pt idx="2648">
                  <c:v>42096</c:v>
                </c:pt>
                <c:pt idx="2649">
                  <c:v>42097</c:v>
                </c:pt>
                <c:pt idx="2650">
                  <c:v>42098</c:v>
                </c:pt>
                <c:pt idx="2651">
                  <c:v>42099</c:v>
                </c:pt>
                <c:pt idx="2652">
                  <c:v>42100</c:v>
                </c:pt>
                <c:pt idx="2653">
                  <c:v>42101</c:v>
                </c:pt>
                <c:pt idx="2654">
                  <c:v>42102</c:v>
                </c:pt>
                <c:pt idx="2655">
                  <c:v>42103</c:v>
                </c:pt>
                <c:pt idx="2656">
                  <c:v>42104</c:v>
                </c:pt>
                <c:pt idx="2657">
                  <c:v>42105</c:v>
                </c:pt>
                <c:pt idx="2658">
                  <c:v>42106</c:v>
                </c:pt>
                <c:pt idx="2659">
                  <c:v>42107</c:v>
                </c:pt>
                <c:pt idx="2660">
                  <c:v>42108</c:v>
                </c:pt>
                <c:pt idx="2661">
                  <c:v>42109</c:v>
                </c:pt>
                <c:pt idx="2662">
                  <c:v>42110</c:v>
                </c:pt>
                <c:pt idx="2663">
                  <c:v>42111</c:v>
                </c:pt>
                <c:pt idx="2664">
                  <c:v>42112</c:v>
                </c:pt>
                <c:pt idx="2665">
                  <c:v>42113</c:v>
                </c:pt>
                <c:pt idx="2666">
                  <c:v>42114</c:v>
                </c:pt>
                <c:pt idx="2667">
                  <c:v>42115</c:v>
                </c:pt>
                <c:pt idx="2668">
                  <c:v>42116</c:v>
                </c:pt>
                <c:pt idx="2669">
                  <c:v>42117</c:v>
                </c:pt>
                <c:pt idx="2670">
                  <c:v>42118</c:v>
                </c:pt>
                <c:pt idx="2671">
                  <c:v>42119</c:v>
                </c:pt>
                <c:pt idx="2672">
                  <c:v>42120</c:v>
                </c:pt>
                <c:pt idx="2673">
                  <c:v>42121</c:v>
                </c:pt>
                <c:pt idx="2674">
                  <c:v>42122</c:v>
                </c:pt>
                <c:pt idx="2675">
                  <c:v>42123</c:v>
                </c:pt>
                <c:pt idx="2676">
                  <c:v>42124</c:v>
                </c:pt>
                <c:pt idx="2677">
                  <c:v>42125</c:v>
                </c:pt>
                <c:pt idx="2678">
                  <c:v>42126</c:v>
                </c:pt>
                <c:pt idx="2679">
                  <c:v>42127</c:v>
                </c:pt>
                <c:pt idx="2680">
                  <c:v>42128</c:v>
                </c:pt>
                <c:pt idx="2681">
                  <c:v>42129</c:v>
                </c:pt>
                <c:pt idx="2682">
                  <c:v>42130</c:v>
                </c:pt>
                <c:pt idx="2683">
                  <c:v>42131</c:v>
                </c:pt>
                <c:pt idx="2684">
                  <c:v>42132</c:v>
                </c:pt>
                <c:pt idx="2685">
                  <c:v>42133</c:v>
                </c:pt>
                <c:pt idx="2686">
                  <c:v>42134</c:v>
                </c:pt>
                <c:pt idx="2687">
                  <c:v>42135</c:v>
                </c:pt>
                <c:pt idx="2688">
                  <c:v>42136</c:v>
                </c:pt>
                <c:pt idx="2689">
                  <c:v>42137</c:v>
                </c:pt>
                <c:pt idx="2690">
                  <c:v>42138</c:v>
                </c:pt>
                <c:pt idx="2691">
                  <c:v>42139</c:v>
                </c:pt>
                <c:pt idx="2692">
                  <c:v>42140</c:v>
                </c:pt>
                <c:pt idx="2693">
                  <c:v>42141</c:v>
                </c:pt>
                <c:pt idx="2694">
                  <c:v>42142</c:v>
                </c:pt>
                <c:pt idx="2695">
                  <c:v>42143</c:v>
                </c:pt>
                <c:pt idx="2696">
                  <c:v>42144</c:v>
                </c:pt>
                <c:pt idx="2697">
                  <c:v>42145</c:v>
                </c:pt>
                <c:pt idx="2698">
                  <c:v>42146</c:v>
                </c:pt>
                <c:pt idx="2699">
                  <c:v>42147</c:v>
                </c:pt>
                <c:pt idx="2700">
                  <c:v>42148</c:v>
                </c:pt>
                <c:pt idx="2701">
                  <c:v>42149</c:v>
                </c:pt>
                <c:pt idx="2702">
                  <c:v>42150</c:v>
                </c:pt>
                <c:pt idx="2703">
                  <c:v>42151</c:v>
                </c:pt>
                <c:pt idx="2704">
                  <c:v>42152</c:v>
                </c:pt>
                <c:pt idx="2705">
                  <c:v>42153</c:v>
                </c:pt>
                <c:pt idx="2706">
                  <c:v>42154</c:v>
                </c:pt>
                <c:pt idx="2707">
                  <c:v>42155</c:v>
                </c:pt>
                <c:pt idx="2708">
                  <c:v>42156</c:v>
                </c:pt>
                <c:pt idx="2709">
                  <c:v>42157</c:v>
                </c:pt>
                <c:pt idx="2710">
                  <c:v>42158</c:v>
                </c:pt>
                <c:pt idx="2711">
                  <c:v>42159</c:v>
                </c:pt>
                <c:pt idx="2712">
                  <c:v>42160</c:v>
                </c:pt>
                <c:pt idx="2713">
                  <c:v>42161</c:v>
                </c:pt>
                <c:pt idx="2714">
                  <c:v>42162</c:v>
                </c:pt>
                <c:pt idx="2715">
                  <c:v>42163</c:v>
                </c:pt>
                <c:pt idx="2716">
                  <c:v>42164</c:v>
                </c:pt>
                <c:pt idx="2717">
                  <c:v>42165</c:v>
                </c:pt>
                <c:pt idx="2718">
                  <c:v>42166</c:v>
                </c:pt>
                <c:pt idx="2719">
                  <c:v>42167</c:v>
                </c:pt>
                <c:pt idx="2720">
                  <c:v>42168</c:v>
                </c:pt>
                <c:pt idx="2721">
                  <c:v>42169</c:v>
                </c:pt>
                <c:pt idx="2722">
                  <c:v>42170</c:v>
                </c:pt>
                <c:pt idx="2723">
                  <c:v>42171</c:v>
                </c:pt>
                <c:pt idx="2724">
                  <c:v>42172</c:v>
                </c:pt>
                <c:pt idx="2725">
                  <c:v>42173</c:v>
                </c:pt>
                <c:pt idx="2726">
                  <c:v>42174</c:v>
                </c:pt>
                <c:pt idx="2727">
                  <c:v>42175</c:v>
                </c:pt>
                <c:pt idx="2728">
                  <c:v>42176</c:v>
                </c:pt>
                <c:pt idx="2729">
                  <c:v>42177</c:v>
                </c:pt>
                <c:pt idx="2730">
                  <c:v>42178</c:v>
                </c:pt>
                <c:pt idx="2731">
                  <c:v>42179</c:v>
                </c:pt>
                <c:pt idx="2732">
                  <c:v>42180</c:v>
                </c:pt>
                <c:pt idx="2733">
                  <c:v>42181</c:v>
                </c:pt>
                <c:pt idx="2734">
                  <c:v>42182</c:v>
                </c:pt>
                <c:pt idx="2735">
                  <c:v>42183</c:v>
                </c:pt>
                <c:pt idx="2736">
                  <c:v>42184</c:v>
                </c:pt>
                <c:pt idx="2737">
                  <c:v>42185</c:v>
                </c:pt>
                <c:pt idx="2738">
                  <c:v>42186</c:v>
                </c:pt>
                <c:pt idx="2739">
                  <c:v>42187</c:v>
                </c:pt>
                <c:pt idx="2740">
                  <c:v>42188</c:v>
                </c:pt>
                <c:pt idx="2741">
                  <c:v>42189</c:v>
                </c:pt>
                <c:pt idx="2742">
                  <c:v>42190</c:v>
                </c:pt>
                <c:pt idx="2743">
                  <c:v>42191</c:v>
                </c:pt>
                <c:pt idx="2744">
                  <c:v>42192</c:v>
                </c:pt>
                <c:pt idx="2745">
                  <c:v>42193</c:v>
                </c:pt>
                <c:pt idx="2746">
                  <c:v>42194</c:v>
                </c:pt>
                <c:pt idx="2747">
                  <c:v>42195</c:v>
                </c:pt>
                <c:pt idx="2748">
                  <c:v>42196</c:v>
                </c:pt>
                <c:pt idx="2749">
                  <c:v>42197</c:v>
                </c:pt>
                <c:pt idx="2750">
                  <c:v>42198</c:v>
                </c:pt>
                <c:pt idx="2751">
                  <c:v>42199</c:v>
                </c:pt>
                <c:pt idx="2752">
                  <c:v>42200</c:v>
                </c:pt>
                <c:pt idx="2753">
                  <c:v>42201</c:v>
                </c:pt>
                <c:pt idx="2754">
                  <c:v>42202</c:v>
                </c:pt>
                <c:pt idx="2755">
                  <c:v>42203</c:v>
                </c:pt>
                <c:pt idx="2756">
                  <c:v>42204</c:v>
                </c:pt>
                <c:pt idx="2757">
                  <c:v>42205</c:v>
                </c:pt>
                <c:pt idx="2758">
                  <c:v>42206</c:v>
                </c:pt>
                <c:pt idx="2759">
                  <c:v>42207</c:v>
                </c:pt>
                <c:pt idx="2760">
                  <c:v>42208</c:v>
                </c:pt>
                <c:pt idx="2761">
                  <c:v>42209</c:v>
                </c:pt>
                <c:pt idx="2762">
                  <c:v>42210</c:v>
                </c:pt>
                <c:pt idx="2763">
                  <c:v>42211</c:v>
                </c:pt>
                <c:pt idx="2764">
                  <c:v>42212</c:v>
                </c:pt>
                <c:pt idx="2765">
                  <c:v>42213</c:v>
                </c:pt>
                <c:pt idx="2766">
                  <c:v>42214</c:v>
                </c:pt>
                <c:pt idx="2767">
                  <c:v>42215</c:v>
                </c:pt>
                <c:pt idx="2768">
                  <c:v>42216</c:v>
                </c:pt>
                <c:pt idx="2769">
                  <c:v>42217</c:v>
                </c:pt>
                <c:pt idx="2770">
                  <c:v>42218</c:v>
                </c:pt>
                <c:pt idx="2771">
                  <c:v>42219</c:v>
                </c:pt>
                <c:pt idx="2772">
                  <c:v>42220</c:v>
                </c:pt>
                <c:pt idx="2773">
                  <c:v>42221</c:v>
                </c:pt>
                <c:pt idx="2774">
                  <c:v>42222</c:v>
                </c:pt>
                <c:pt idx="2775">
                  <c:v>42223</c:v>
                </c:pt>
                <c:pt idx="2776">
                  <c:v>42224</c:v>
                </c:pt>
                <c:pt idx="2777">
                  <c:v>42225</c:v>
                </c:pt>
                <c:pt idx="2778">
                  <c:v>42226</c:v>
                </c:pt>
                <c:pt idx="2779">
                  <c:v>42227</c:v>
                </c:pt>
                <c:pt idx="2780">
                  <c:v>42228</c:v>
                </c:pt>
                <c:pt idx="2781">
                  <c:v>42229</c:v>
                </c:pt>
                <c:pt idx="2782">
                  <c:v>42230</c:v>
                </c:pt>
                <c:pt idx="2783">
                  <c:v>42231</c:v>
                </c:pt>
                <c:pt idx="2784">
                  <c:v>42232</c:v>
                </c:pt>
                <c:pt idx="2785">
                  <c:v>42233</c:v>
                </c:pt>
                <c:pt idx="2786">
                  <c:v>42234</c:v>
                </c:pt>
                <c:pt idx="2787">
                  <c:v>42235</c:v>
                </c:pt>
                <c:pt idx="2788">
                  <c:v>42236</c:v>
                </c:pt>
                <c:pt idx="2789">
                  <c:v>42237</c:v>
                </c:pt>
                <c:pt idx="2790">
                  <c:v>42238</c:v>
                </c:pt>
                <c:pt idx="2791">
                  <c:v>42239</c:v>
                </c:pt>
                <c:pt idx="2792">
                  <c:v>42240</c:v>
                </c:pt>
                <c:pt idx="2793">
                  <c:v>42241</c:v>
                </c:pt>
                <c:pt idx="2794">
                  <c:v>42242</c:v>
                </c:pt>
                <c:pt idx="2795">
                  <c:v>42243</c:v>
                </c:pt>
                <c:pt idx="2796">
                  <c:v>42244</c:v>
                </c:pt>
                <c:pt idx="2797">
                  <c:v>42245</c:v>
                </c:pt>
                <c:pt idx="2798">
                  <c:v>42246</c:v>
                </c:pt>
                <c:pt idx="2799">
                  <c:v>42247</c:v>
                </c:pt>
                <c:pt idx="2800">
                  <c:v>42248</c:v>
                </c:pt>
                <c:pt idx="2801">
                  <c:v>42249</c:v>
                </c:pt>
                <c:pt idx="2802">
                  <c:v>42250</c:v>
                </c:pt>
                <c:pt idx="2803">
                  <c:v>42251</c:v>
                </c:pt>
                <c:pt idx="2804">
                  <c:v>42252</c:v>
                </c:pt>
                <c:pt idx="2805">
                  <c:v>42253</c:v>
                </c:pt>
                <c:pt idx="2806">
                  <c:v>42254</c:v>
                </c:pt>
                <c:pt idx="2807">
                  <c:v>42255</c:v>
                </c:pt>
                <c:pt idx="2808">
                  <c:v>42256</c:v>
                </c:pt>
                <c:pt idx="2809">
                  <c:v>42257</c:v>
                </c:pt>
                <c:pt idx="2810">
                  <c:v>42258</c:v>
                </c:pt>
                <c:pt idx="2811">
                  <c:v>42259</c:v>
                </c:pt>
                <c:pt idx="2812">
                  <c:v>42260</c:v>
                </c:pt>
                <c:pt idx="2813">
                  <c:v>42261</c:v>
                </c:pt>
                <c:pt idx="2814">
                  <c:v>42262</c:v>
                </c:pt>
                <c:pt idx="2815">
                  <c:v>42263</c:v>
                </c:pt>
                <c:pt idx="2816">
                  <c:v>42264</c:v>
                </c:pt>
                <c:pt idx="2817">
                  <c:v>42265</c:v>
                </c:pt>
                <c:pt idx="2818">
                  <c:v>42266</c:v>
                </c:pt>
                <c:pt idx="2819">
                  <c:v>42267</c:v>
                </c:pt>
                <c:pt idx="2820">
                  <c:v>42268</c:v>
                </c:pt>
                <c:pt idx="2821">
                  <c:v>42269</c:v>
                </c:pt>
                <c:pt idx="2822">
                  <c:v>42270</c:v>
                </c:pt>
                <c:pt idx="2823">
                  <c:v>42271</c:v>
                </c:pt>
                <c:pt idx="2824">
                  <c:v>42272</c:v>
                </c:pt>
                <c:pt idx="2825">
                  <c:v>42273</c:v>
                </c:pt>
                <c:pt idx="2826">
                  <c:v>42274</c:v>
                </c:pt>
                <c:pt idx="2827">
                  <c:v>42275</c:v>
                </c:pt>
                <c:pt idx="2828">
                  <c:v>42276</c:v>
                </c:pt>
                <c:pt idx="2829">
                  <c:v>42277</c:v>
                </c:pt>
                <c:pt idx="2830">
                  <c:v>42278</c:v>
                </c:pt>
                <c:pt idx="2831">
                  <c:v>42279</c:v>
                </c:pt>
                <c:pt idx="2832">
                  <c:v>42280</c:v>
                </c:pt>
                <c:pt idx="2833">
                  <c:v>42281</c:v>
                </c:pt>
                <c:pt idx="2834">
                  <c:v>42282</c:v>
                </c:pt>
                <c:pt idx="2835">
                  <c:v>42283</c:v>
                </c:pt>
                <c:pt idx="2836">
                  <c:v>42284</c:v>
                </c:pt>
                <c:pt idx="2837">
                  <c:v>42285</c:v>
                </c:pt>
                <c:pt idx="2838">
                  <c:v>42286</c:v>
                </c:pt>
                <c:pt idx="2839">
                  <c:v>42287</c:v>
                </c:pt>
                <c:pt idx="2840">
                  <c:v>42288</c:v>
                </c:pt>
                <c:pt idx="2841">
                  <c:v>42289</c:v>
                </c:pt>
                <c:pt idx="2842">
                  <c:v>42290</c:v>
                </c:pt>
                <c:pt idx="2843">
                  <c:v>42291</c:v>
                </c:pt>
                <c:pt idx="2844">
                  <c:v>42292</c:v>
                </c:pt>
                <c:pt idx="2845">
                  <c:v>42293</c:v>
                </c:pt>
                <c:pt idx="2846">
                  <c:v>42294</c:v>
                </c:pt>
                <c:pt idx="2847">
                  <c:v>42295</c:v>
                </c:pt>
                <c:pt idx="2848">
                  <c:v>42296</c:v>
                </c:pt>
                <c:pt idx="2849">
                  <c:v>42297</c:v>
                </c:pt>
                <c:pt idx="2850">
                  <c:v>42298</c:v>
                </c:pt>
                <c:pt idx="2851">
                  <c:v>42299</c:v>
                </c:pt>
                <c:pt idx="2852">
                  <c:v>42300</c:v>
                </c:pt>
                <c:pt idx="2853">
                  <c:v>42301</c:v>
                </c:pt>
                <c:pt idx="2854">
                  <c:v>42302</c:v>
                </c:pt>
                <c:pt idx="2855">
                  <c:v>42303</c:v>
                </c:pt>
                <c:pt idx="2856">
                  <c:v>42304</c:v>
                </c:pt>
                <c:pt idx="2857">
                  <c:v>42305</c:v>
                </c:pt>
                <c:pt idx="2858">
                  <c:v>42306</c:v>
                </c:pt>
                <c:pt idx="2859">
                  <c:v>42307</c:v>
                </c:pt>
                <c:pt idx="2860">
                  <c:v>42308</c:v>
                </c:pt>
                <c:pt idx="2861">
                  <c:v>42309</c:v>
                </c:pt>
                <c:pt idx="2862">
                  <c:v>42310</c:v>
                </c:pt>
                <c:pt idx="2863">
                  <c:v>42311</c:v>
                </c:pt>
                <c:pt idx="2864">
                  <c:v>42312</c:v>
                </c:pt>
                <c:pt idx="2865">
                  <c:v>42313</c:v>
                </c:pt>
                <c:pt idx="2866">
                  <c:v>42314</c:v>
                </c:pt>
                <c:pt idx="2867">
                  <c:v>42315</c:v>
                </c:pt>
                <c:pt idx="2868">
                  <c:v>42316</c:v>
                </c:pt>
                <c:pt idx="2869">
                  <c:v>42317</c:v>
                </c:pt>
                <c:pt idx="2870">
                  <c:v>42318</c:v>
                </c:pt>
                <c:pt idx="2871">
                  <c:v>42319</c:v>
                </c:pt>
                <c:pt idx="2872">
                  <c:v>42320</c:v>
                </c:pt>
                <c:pt idx="2873">
                  <c:v>42321</c:v>
                </c:pt>
                <c:pt idx="2874">
                  <c:v>42322</c:v>
                </c:pt>
                <c:pt idx="2875">
                  <c:v>42323</c:v>
                </c:pt>
                <c:pt idx="2876">
                  <c:v>42324</c:v>
                </c:pt>
                <c:pt idx="2877">
                  <c:v>42325</c:v>
                </c:pt>
                <c:pt idx="2878">
                  <c:v>42326</c:v>
                </c:pt>
                <c:pt idx="2879">
                  <c:v>42327</c:v>
                </c:pt>
                <c:pt idx="2880">
                  <c:v>42328</c:v>
                </c:pt>
                <c:pt idx="2881">
                  <c:v>42329</c:v>
                </c:pt>
                <c:pt idx="2882">
                  <c:v>42330</c:v>
                </c:pt>
                <c:pt idx="2883">
                  <c:v>42331</c:v>
                </c:pt>
                <c:pt idx="2884">
                  <c:v>42332</c:v>
                </c:pt>
                <c:pt idx="2885">
                  <c:v>42333</c:v>
                </c:pt>
                <c:pt idx="2886">
                  <c:v>42334</c:v>
                </c:pt>
                <c:pt idx="2887">
                  <c:v>42335</c:v>
                </c:pt>
                <c:pt idx="2888">
                  <c:v>42336</c:v>
                </c:pt>
                <c:pt idx="2889">
                  <c:v>42337</c:v>
                </c:pt>
                <c:pt idx="2890">
                  <c:v>42338</c:v>
                </c:pt>
                <c:pt idx="2891">
                  <c:v>42339</c:v>
                </c:pt>
                <c:pt idx="2892">
                  <c:v>42340</c:v>
                </c:pt>
                <c:pt idx="2893">
                  <c:v>42341</c:v>
                </c:pt>
                <c:pt idx="2894">
                  <c:v>42342</c:v>
                </c:pt>
                <c:pt idx="2895">
                  <c:v>42343</c:v>
                </c:pt>
                <c:pt idx="2896">
                  <c:v>42344</c:v>
                </c:pt>
                <c:pt idx="2897">
                  <c:v>42345</c:v>
                </c:pt>
                <c:pt idx="2898">
                  <c:v>42346</c:v>
                </c:pt>
                <c:pt idx="2899">
                  <c:v>42347</c:v>
                </c:pt>
                <c:pt idx="2900">
                  <c:v>42348</c:v>
                </c:pt>
                <c:pt idx="2901">
                  <c:v>42349</c:v>
                </c:pt>
                <c:pt idx="2902">
                  <c:v>42350</c:v>
                </c:pt>
                <c:pt idx="2903">
                  <c:v>42351</c:v>
                </c:pt>
                <c:pt idx="2904">
                  <c:v>42352</c:v>
                </c:pt>
                <c:pt idx="2905">
                  <c:v>42353</c:v>
                </c:pt>
                <c:pt idx="2906">
                  <c:v>42354</c:v>
                </c:pt>
                <c:pt idx="2907">
                  <c:v>42355</c:v>
                </c:pt>
                <c:pt idx="2908">
                  <c:v>42356</c:v>
                </c:pt>
                <c:pt idx="2909">
                  <c:v>42357</c:v>
                </c:pt>
                <c:pt idx="2910">
                  <c:v>42358</c:v>
                </c:pt>
                <c:pt idx="2911">
                  <c:v>42359</c:v>
                </c:pt>
                <c:pt idx="2912">
                  <c:v>42360</c:v>
                </c:pt>
                <c:pt idx="2913">
                  <c:v>42361</c:v>
                </c:pt>
                <c:pt idx="2914">
                  <c:v>42362</c:v>
                </c:pt>
                <c:pt idx="2915">
                  <c:v>42363</c:v>
                </c:pt>
                <c:pt idx="2916">
                  <c:v>42364</c:v>
                </c:pt>
                <c:pt idx="2917">
                  <c:v>42365</c:v>
                </c:pt>
                <c:pt idx="2918">
                  <c:v>42366</c:v>
                </c:pt>
                <c:pt idx="2919">
                  <c:v>42367</c:v>
                </c:pt>
                <c:pt idx="2920">
                  <c:v>42368</c:v>
                </c:pt>
                <c:pt idx="2921">
                  <c:v>42369</c:v>
                </c:pt>
                <c:pt idx="2922">
                  <c:v>42370</c:v>
                </c:pt>
                <c:pt idx="2923">
                  <c:v>42371</c:v>
                </c:pt>
                <c:pt idx="2924">
                  <c:v>42372</c:v>
                </c:pt>
                <c:pt idx="2925">
                  <c:v>42373</c:v>
                </c:pt>
                <c:pt idx="2926">
                  <c:v>42374</c:v>
                </c:pt>
                <c:pt idx="2927">
                  <c:v>42375</c:v>
                </c:pt>
                <c:pt idx="2928">
                  <c:v>42376</c:v>
                </c:pt>
                <c:pt idx="2929">
                  <c:v>42377</c:v>
                </c:pt>
                <c:pt idx="2930">
                  <c:v>42378</c:v>
                </c:pt>
                <c:pt idx="2931">
                  <c:v>42379</c:v>
                </c:pt>
                <c:pt idx="2932">
                  <c:v>42380</c:v>
                </c:pt>
                <c:pt idx="2933">
                  <c:v>42381</c:v>
                </c:pt>
                <c:pt idx="2934">
                  <c:v>42382</c:v>
                </c:pt>
                <c:pt idx="2935">
                  <c:v>42383</c:v>
                </c:pt>
                <c:pt idx="2936">
                  <c:v>42384</c:v>
                </c:pt>
                <c:pt idx="2937">
                  <c:v>42385</c:v>
                </c:pt>
                <c:pt idx="2938">
                  <c:v>42386</c:v>
                </c:pt>
                <c:pt idx="2939">
                  <c:v>42387</c:v>
                </c:pt>
                <c:pt idx="2940">
                  <c:v>42388</c:v>
                </c:pt>
                <c:pt idx="2941">
                  <c:v>42389</c:v>
                </c:pt>
                <c:pt idx="2942">
                  <c:v>42390</c:v>
                </c:pt>
                <c:pt idx="2943">
                  <c:v>42391</c:v>
                </c:pt>
                <c:pt idx="2944">
                  <c:v>42392</c:v>
                </c:pt>
                <c:pt idx="2945">
                  <c:v>42393</c:v>
                </c:pt>
                <c:pt idx="2946">
                  <c:v>42394</c:v>
                </c:pt>
                <c:pt idx="2947">
                  <c:v>42395</c:v>
                </c:pt>
                <c:pt idx="2948">
                  <c:v>42396</c:v>
                </c:pt>
                <c:pt idx="2949">
                  <c:v>42397</c:v>
                </c:pt>
                <c:pt idx="2950">
                  <c:v>42398</c:v>
                </c:pt>
                <c:pt idx="2951">
                  <c:v>42399</c:v>
                </c:pt>
                <c:pt idx="2952">
                  <c:v>42400</c:v>
                </c:pt>
                <c:pt idx="2953">
                  <c:v>42401</c:v>
                </c:pt>
                <c:pt idx="2954">
                  <c:v>42402</c:v>
                </c:pt>
                <c:pt idx="2955">
                  <c:v>42403</c:v>
                </c:pt>
              </c:numCache>
            </c:numRef>
          </c:cat>
          <c:val>
            <c:numRef>
              <c:f>Daily!$B$3:$DIS$3</c:f>
              <c:numCache>
                <c:formatCode>General</c:formatCode>
                <c:ptCount val="2956"/>
                <c:pt idx="0">
                  <c:v>21.03</c:v>
                </c:pt>
                <c:pt idx="1">
                  <c:v>58.51</c:v>
                </c:pt>
                <c:pt idx="2">
                  <c:v>54.98</c:v>
                </c:pt>
                <c:pt idx="3">
                  <c:v>55.99</c:v>
                </c:pt>
                <c:pt idx="4">
                  <c:v>45.24</c:v>
                </c:pt>
                <c:pt idx="5">
                  <c:v>42.84</c:v>
                </c:pt>
                <c:pt idx="6">
                  <c:v>68.47</c:v>
                </c:pt>
                <c:pt idx="7">
                  <c:v>68.14</c:v>
                </c:pt>
                <c:pt idx="8">
                  <c:v>61.84</c:v>
                </c:pt>
                <c:pt idx="9">
                  <c:v>66.03</c:v>
                </c:pt>
                <c:pt idx="10">
                  <c:v>64.3</c:v>
                </c:pt>
                <c:pt idx="11">
                  <c:v>51.21</c:v>
                </c:pt>
                <c:pt idx="12">
                  <c:v>43.45</c:v>
                </c:pt>
                <c:pt idx="13">
                  <c:v>66.319999999999993</c:v>
                </c:pt>
                <c:pt idx="14">
                  <c:v>64.05</c:v>
                </c:pt>
                <c:pt idx="15">
                  <c:v>66.989999999999995</c:v>
                </c:pt>
                <c:pt idx="16">
                  <c:v>72.98</c:v>
                </c:pt>
                <c:pt idx="17">
                  <c:v>59.97</c:v>
                </c:pt>
                <c:pt idx="18">
                  <c:v>42.32</c:v>
                </c:pt>
                <c:pt idx="19">
                  <c:v>38.49</c:v>
                </c:pt>
                <c:pt idx="20">
                  <c:v>54.3</c:v>
                </c:pt>
                <c:pt idx="21">
                  <c:v>63.87</c:v>
                </c:pt>
                <c:pt idx="22">
                  <c:v>59.25</c:v>
                </c:pt>
                <c:pt idx="23">
                  <c:v>61.35</c:v>
                </c:pt>
                <c:pt idx="24">
                  <c:v>48.86</c:v>
                </c:pt>
                <c:pt idx="25">
                  <c:v>45.19</c:v>
                </c:pt>
                <c:pt idx="26">
                  <c:v>33.43</c:v>
                </c:pt>
                <c:pt idx="27">
                  <c:v>59.97</c:v>
                </c:pt>
                <c:pt idx="28">
                  <c:v>70.67</c:v>
                </c:pt>
                <c:pt idx="29">
                  <c:v>67.83</c:v>
                </c:pt>
                <c:pt idx="30">
                  <c:v>58.25</c:v>
                </c:pt>
                <c:pt idx="31">
                  <c:v>47.57</c:v>
                </c:pt>
                <c:pt idx="32">
                  <c:v>45.55</c:v>
                </c:pt>
                <c:pt idx="33">
                  <c:v>43.5</c:v>
                </c:pt>
                <c:pt idx="34">
                  <c:v>58.85</c:v>
                </c:pt>
                <c:pt idx="35">
                  <c:v>57.33</c:v>
                </c:pt>
                <c:pt idx="36">
                  <c:v>56.73</c:v>
                </c:pt>
                <c:pt idx="37">
                  <c:v>62.89</c:v>
                </c:pt>
                <c:pt idx="38">
                  <c:v>65.78</c:v>
                </c:pt>
                <c:pt idx="39">
                  <c:v>56.1</c:v>
                </c:pt>
                <c:pt idx="40">
                  <c:v>48.49</c:v>
                </c:pt>
                <c:pt idx="41">
                  <c:v>67.91</c:v>
                </c:pt>
                <c:pt idx="42">
                  <c:v>67.150000000000006</c:v>
                </c:pt>
                <c:pt idx="43">
                  <c:v>68.010000000000005</c:v>
                </c:pt>
                <c:pt idx="44">
                  <c:v>66.63</c:v>
                </c:pt>
                <c:pt idx="45">
                  <c:v>66.06</c:v>
                </c:pt>
                <c:pt idx="46">
                  <c:v>55.16</c:v>
                </c:pt>
                <c:pt idx="47">
                  <c:v>49.17</c:v>
                </c:pt>
                <c:pt idx="48">
                  <c:v>66.8</c:v>
                </c:pt>
                <c:pt idx="49">
                  <c:v>79.3</c:v>
                </c:pt>
                <c:pt idx="50">
                  <c:v>76.34</c:v>
                </c:pt>
                <c:pt idx="51">
                  <c:v>63.91</c:v>
                </c:pt>
                <c:pt idx="52">
                  <c:v>53.85</c:v>
                </c:pt>
                <c:pt idx="53">
                  <c:v>53.01</c:v>
                </c:pt>
                <c:pt idx="54">
                  <c:v>47.92</c:v>
                </c:pt>
                <c:pt idx="55">
                  <c:v>63.99</c:v>
                </c:pt>
                <c:pt idx="56">
                  <c:v>54.68</c:v>
                </c:pt>
                <c:pt idx="57">
                  <c:v>53.67</c:v>
                </c:pt>
                <c:pt idx="58">
                  <c:v>67.06</c:v>
                </c:pt>
                <c:pt idx="59">
                  <c:v>61.27</c:v>
                </c:pt>
                <c:pt idx="60">
                  <c:v>37.159999999999997</c:v>
                </c:pt>
                <c:pt idx="61">
                  <c:v>23.62</c:v>
                </c:pt>
                <c:pt idx="62">
                  <c:v>52.44</c:v>
                </c:pt>
                <c:pt idx="63">
                  <c:v>61.4</c:v>
                </c:pt>
                <c:pt idx="64">
                  <c:v>64.72</c:v>
                </c:pt>
                <c:pt idx="65">
                  <c:v>57.92</c:v>
                </c:pt>
                <c:pt idx="66">
                  <c:v>65.739999999999995</c:v>
                </c:pt>
                <c:pt idx="67">
                  <c:v>58.69</c:v>
                </c:pt>
                <c:pt idx="68">
                  <c:v>42.88</c:v>
                </c:pt>
                <c:pt idx="69">
                  <c:v>58.62</c:v>
                </c:pt>
                <c:pt idx="70">
                  <c:v>59.39</c:v>
                </c:pt>
                <c:pt idx="71">
                  <c:v>47.04</c:v>
                </c:pt>
                <c:pt idx="72">
                  <c:v>53.59</c:v>
                </c:pt>
                <c:pt idx="73">
                  <c:v>55.46</c:v>
                </c:pt>
                <c:pt idx="74">
                  <c:v>50.48</c:v>
                </c:pt>
                <c:pt idx="75">
                  <c:v>38.39</c:v>
                </c:pt>
                <c:pt idx="76">
                  <c:v>55.2</c:v>
                </c:pt>
                <c:pt idx="77">
                  <c:v>56.59</c:v>
                </c:pt>
                <c:pt idx="78">
                  <c:v>64.739999999999995</c:v>
                </c:pt>
                <c:pt idx="79">
                  <c:v>62.75</c:v>
                </c:pt>
                <c:pt idx="80">
                  <c:v>47.19</c:v>
                </c:pt>
                <c:pt idx="81">
                  <c:v>50.97</c:v>
                </c:pt>
                <c:pt idx="82">
                  <c:v>44.26</c:v>
                </c:pt>
                <c:pt idx="83">
                  <c:v>39.83</c:v>
                </c:pt>
                <c:pt idx="84">
                  <c:v>61.02</c:v>
                </c:pt>
                <c:pt idx="85">
                  <c:v>67.05</c:v>
                </c:pt>
                <c:pt idx="86">
                  <c:v>71.930000000000007</c:v>
                </c:pt>
                <c:pt idx="87">
                  <c:v>63.57</c:v>
                </c:pt>
                <c:pt idx="88">
                  <c:v>48.09</c:v>
                </c:pt>
                <c:pt idx="89">
                  <c:v>31.64</c:v>
                </c:pt>
                <c:pt idx="90">
                  <c:v>61.11</c:v>
                </c:pt>
                <c:pt idx="91">
                  <c:v>66.099999999999994</c:v>
                </c:pt>
                <c:pt idx="92">
                  <c:v>66.55</c:v>
                </c:pt>
                <c:pt idx="93">
                  <c:v>69.069999999999993</c:v>
                </c:pt>
                <c:pt idx="94">
                  <c:v>69.88</c:v>
                </c:pt>
                <c:pt idx="95">
                  <c:v>52</c:v>
                </c:pt>
                <c:pt idx="96">
                  <c:v>49.64</c:v>
                </c:pt>
                <c:pt idx="97">
                  <c:v>74.819999999999993</c:v>
                </c:pt>
                <c:pt idx="98">
                  <c:v>94.94</c:v>
                </c:pt>
                <c:pt idx="99">
                  <c:v>98.68</c:v>
                </c:pt>
                <c:pt idx="100">
                  <c:v>85.08</c:v>
                </c:pt>
                <c:pt idx="101">
                  <c:v>78.19</c:v>
                </c:pt>
                <c:pt idx="102">
                  <c:v>58.8</c:v>
                </c:pt>
                <c:pt idx="103">
                  <c:v>48.21</c:v>
                </c:pt>
                <c:pt idx="104">
                  <c:v>79.319999999999993</c:v>
                </c:pt>
                <c:pt idx="105">
                  <c:v>79.319999999999993</c:v>
                </c:pt>
                <c:pt idx="106">
                  <c:v>80.319999999999993</c:v>
                </c:pt>
                <c:pt idx="107">
                  <c:v>82.55</c:v>
                </c:pt>
                <c:pt idx="108">
                  <c:v>74.61</c:v>
                </c:pt>
                <c:pt idx="109">
                  <c:v>55.74</c:v>
                </c:pt>
                <c:pt idx="110">
                  <c:v>45.19</c:v>
                </c:pt>
                <c:pt idx="111">
                  <c:v>66.36</c:v>
                </c:pt>
                <c:pt idx="112">
                  <c:v>61.78</c:v>
                </c:pt>
                <c:pt idx="113">
                  <c:v>66.25</c:v>
                </c:pt>
                <c:pt idx="114">
                  <c:v>69.81</c:v>
                </c:pt>
                <c:pt idx="115">
                  <c:v>60.05</c:v>
                </c:pt>
                <c:pt idx="116">
                  <c:v>55.1</c:v>
                </c:pt>
                <c:pt idx="117">
                  <c:v>42.35</c:v>
                </c:pt>
                <c:pt idx="118">
                  <c:v>64.22</c:v>
                </c:pt>
                <c:pt idx="119">
                  <c:v>69</c:v>
                </c:pt>
                <c:pt idx="120">
                  <c:v>59.98</c:v>
                </c:pt>
                <c:pt idx="121">
                  <c:v>28.23</c:v>
                </c:pt>
                <c:pt idx="122">
                  <c:v>44.82</c:v>
                </c:pt>
                <c:pt idx="123">
                  <c:v>59.46</c:v>
                </c:pt>
                <c:pt idx="124">
                  <c:v>40.96</c:v>
                </c:pt>
                <c:pt idx="125">
                  <c:v>65.819999999999993</c:v>
                </c:pt>
                <c:pt idx="126">
                  <c:v>66.45</c:v>
                </c:pt>
                <c:pt idx="127">
                  <c:v>66.33</c:v>
                </c:pt>
                <c:pt idx="128">
                  <c:v>65.319999999999993</c:v>
                </c:pt>
                <c:pt idx="129">
                  <c:v>55.62</c:v>
                </c:pt>
                <c:pt idx="130">
                  <c:v>41.45</c:v>
                </c:pt>
                <c:pt idx="131">
                  <c:v>22.92</c:v>
                </c:pt>
                <c:pt idx="132">
                  <c:v>34.69</c:v>
                </c:pt>
                <c:pt idx="133">
                  <c:v>56.63</c:v>
                </c:pt>
                <c:pt idx="134">
                  <c:v>67.099999999999994</c:v>
                </c:pt>
                <c:pt idx="135">
                  <c:v>69.47</c:v>
                </c:pt>
                <c:pt idx="136">
                  <c:v>64.319999999999993</c:v>
                </c:pt>
                <c:pt idx="137">
                  <c:v>53.78</c:v>
                </c:pt>
                <c:pt idx="138">
                  <c:v>38.01</c:v>
                </c:pt>
                <c:pt idx="139">
                  <c:v>67.260000000000005</c:v>
                </c:pt>
                <c:pt idx="140">
                  <c:v>66.75</c:v>
                </c:pt>
                <c:pt idx="141">
                  <c:v>67.63</c:v>
                </c:pt>
                <c:pt idx="142">
                  <c:v>61.22</c:v>
                </c:pt>
                <c:pt idx="143">
                  <c:v>64.78</c:v>
                </c:pt>
                <c:pt idx="144">
                  <c:v>58.43</c:v>
                </c:pt>
                <c:pt idx="145">
                  <c:v>39.5</c:v>
                </c:pt>
                <c:pt idx="146">
                  <c:v>60.82</c:v>
                </c:pt>
                <c:pt idx="147">
                  <c:v>61.49</c:v>
                </c:pt>
                <c:pt idx="148">
                  <c:v>63.03</c:v>
                </c:pt>
                <c:pt idx="149">
                  <c:v>71.33</c:v>
                </c:pt>
                <c:pt idx="150">
                  <c:v>65.34</c:v>
                </c:pt>
                <c:pt idx="151">
                  <c:v>54.37</c:v>
                </c:pt>
                <c:pt idx="152">
                  <c:v>42.46</c:v>
                </c:pt>
                <c:pt idx="153">
                  <c:v>73.459999999999994</c:v>
                </c:pt>
                <c:pt idx="154">
                  <c:v>90.06</c:v>
                </c:pt>
                <c:pt idx="155">
                  <c:v>94.38</c:v>
                </c:pt>
                <c:pt idx="156">
                  <c:v>77.569999999999993</c:v>
                </c:pt>
                <c:pt idx="157">
                  <c:v>78.16</c:v>
                </c:pt>
                <c:pt idx="158">
                  <c:v>67.819999999999993</c:v>
                </c:pt>
                <c:pt idx="159">
                  <c:v>48.79</c:v>
                </c:pt>
                <c:pt idx="160">
                  <c:v>84.99</c:v>
                </c:pt>
                <c:pt idx="161">
                  <c:v>78.23</c:v>
                </c:pt>
                <c:pt idx="162">
                  <c:v>75.260000000000005</c:v>
                </c:pt>
                <c:pt idx="163">
                  <c:v>83.12</c:v>
                </c:pt>
                <c:pt idx="164">
                  <c:v>68.84</c:v>
                </c:pt>
                <c:pt idx="165">
                  <c:v>57.37</c:v>
                </c:pt>
                <c:pt idx="166">
                  <c:v>47.92</c:v>
                </c:pt>
                <c:pt idx="167">
                  <c:v>81.63</c:v>
                </c:pt>
                <c:pt idx="168">
                  <c:v>78.27</c:v>
                </c:pt>
                <c:pt idx="169">
                  <c:v>73.05</c:v>
                </c:pt>
                <c:pt idx="170">
                  <c:v>72.17</c:v>
                </c:pt>
                <c:pt idx="171">
                  <c:v>71.14</c:v>
                </c:pt>
                <c:pt idx="172">
                  <c:v>66.37</c:v>
                </c:pt>
                <c:pt idx="173">
                  <c:v>53.91</c:v>
                </c:pt>
                <c:pt idx="174">
                  <c:v>75.319999999999993</c:v>
                </c:pt>
                <c:pt idx="175">
                  <c:v>93.87</c:v>
                </c:pt>
                <c:pt idx="176">
                  <c:v>92.15</c:v>
                </c:pt>
                <c:pt idx="177">
                  <c:v>91.89</c:v>
                </c:pt>
                <c:pt idx="178">
                  <c:v>78.19</c:v>
                </c:pt>
                <c:pt idx="179">
                  <c:v>58.44</c:v>
                </c:pt>
                <c:pt idx="180">
                  <c:v>53.12</c:v>
                </c:pt>
                <c:pt idx="181">
                  <c:v>89.19</c:v>
                </c:pt>
                <c:pt idx="182">
                  <c:v>83.02</c:v>
                </c:pt>
                <c:pt idx="183">
                  <c:v>95.44</c:v>
                </c:pt>
                <c:pt idx="184">
                  <c:v>102.22</c:v>
                </c:pt>
                <c:pt idx="185">
                  <c:v>75.61</c:v>
                </c:pt>
                <c:pt idx="186">
                  <c:v>64.94</c:v>
                </c:pt>
                <c:pt idx="187">
                  <c:v>47.56</c:v>
                </c:pt>
                <c:pt idx="188">
                  <c:v>76.290000000000006</c:v>
                </c:pt>
                <c:pt idx="189">
                  <c:v>69.7</c:v>
                </c:pt>
                <c:pt idx="190">
                  <c:v>75.22</c:v>
                </c:pt>
                <c:pt idx="191">
                  <c:v>79.3</c:v>
                </c:pt>
                <c:pt idx="192">
                  <c:v>82.54</c:v>
                </c:pt>
                <c:pt idx="193">
                  <c:v>69.44</c:v>
                </c:pt>
                <c:pt idx="194">
                  <c:v>55.18</c:v>
                </c:pt>
                <c:pt idx="195">
                  <c:v>71.27</c:v>
                </c:pt>
                <c:pt idx="196">
                  <c:v>71.400000000000006</c:v>
                </c:pt>
                <c:pt idx="197">
                  <c:v>71.400000000000006</c:v>
                </c:pt>
                <c:pt idx="198">
                  <c:v>77.790000000000006</c:v>
                </c:pt>
                <c:pt idx="199">
                  <c:v>73.88</c:v>
                </c:pt>
                <c:pt idx="200">
                  <c:v>57.46</c:v>
                </c:pt>
                <c:pt idx="201">
                  <c:v>31.32</c:v>
                </c:pt>
                <c:pt idx="202">
                  <c:v>56.73</c:v>
                </c:pt>
                <c:pt idx="203">
                  <c:v>65.680000000000007</c:v>
                </c:pt>
                <c:pt idx="204">
                  <c:v>65.55</c:v>
                </c:pt>
                <c:pt idx="205">
                  <c:v>70.319999999999993</c:v>
                </c:pt>
                <c:pt idx="206">
                  <c:v>69.849999999999994</c:v>
                </c:pt>
                <c:pt idx="207">
                  <c:v>64.3</c:v>
                </c:pt>
                <c:pt idx="208">
                  <c:v>47.04</c:v>
                </c:pt>
                <c:pt idx="209">
                  <c:v>70.06</c:v>
                </c:pt>
                <c:pt idx="210">
                  <c:v>74.75</c:v>
                </c:pt>
                <c:pt idx="211">
                  <c:v>77.05</c:v>
                </c:pt>
                <c:pt idx="212">
                  <c:v>75.959999999999994</c:v>
                </c:pt>
                <c:pt idx="213">
                  <c:v>67.31</c:v>
                </c:pt>
                <c:pt idx="214">
                  <c:v>61.85</c:v>
                </c:pt>
                <c:pt idx="215">
                  <c:v>34.07</c:v>
                </c:pt>
                <c:pt idx="216">
                  <c:v>54.83</c:v>
                </c:pt>
                <c:pt idx="217">
                  <c:v>54.38</c:v>
                </c:pt>
                <c:pt idx="218">
                  <c:v>68.19</c:v>
                </c:pt>
                <c:pt idx="219">
                  <c:v>60.51</c:v>
                </c:pt>
                <c:pt idx="220">
                  <c:v>60.68</c:v>
                </c:pt>
                <c:pt idx="221">
                  <c:v>50.61</c:v>
                </c:pt>
                <c:pt idx="222">
                  <c:v>35.18</c:v>
                </c:pt>
                <c:pt idx="223">
                  <c:v>60.7</c:v>
                </c:pt>
                <c:pt idx="224">
                  <c:v>63.18</c:v>
                </c:pt>
                <c:pt idx="225">
                  <c:v>47.43</c:v>
                </c:pt>
                <c:pt idx="226">
                  <c:v>59.25</c:v>
                </c:pt>
                <c:pt idx="227">
                  <c:v>62.9</c:v>
                </c:pt>
                <c:pt idx="228">
                  <c:v>48.53</c:v>
                </c:pt>
                <c:pt idx="229">
                  <c:v>31.84</c:v>
                </c:pt>
                <c:pt idx="230">
                  <c:v>59.54</c:v>
                </c:pt>
                <c:pt idx="231">
                  <c:v>61.51</c:v>
                </c:pt>
                <c:pt idx="232">
                  <c:v>61.92</c:v>
                </c:pt>
                <c:pt idx="233">
                  <c:v>70.33</c:v>
                </c:pt>
                <c:pt idx="234">
                  <c:v>72.67</c:v>
                </c:pt>
                <c:pt idx="235">
                  <c:v>66.62</c:v>
                </c:pt>
                <c:pt idx="236">
                  <c:v>46.04</c:v>
                </c:pt>
                <c:pt idx="237">
                  <c:v>76.349999999999994</c:v>
                </c:pt>
                <c:pt idx="238">
                  <c:v>79.650000000000006</c:v>
                </c:pt>
                <c:pt idx="239">
                  <c:v>83.5</c:v>
                </c:pt>
                <c:pt idx="240">
                  <c:v>86.31</c:v>
                </c:pt>
                <c:pt idx="241">
                  <c:v>86.68</c:v>
                </c:pt>
                <c:pt idx="242">
                  <c:v>80.42</c:v>
                </c:pt>
                <c:pt idx="243">
                  <c:v>61.48</c:v>
                </c:pt>
                <c:pt idx="244">
                  <c:v>88.71</c:v>
                </c:pt>
                <c:pt idx="245">
                  <c:v>87.59</c:v>
                </c:pt>
                <c:pt idx="246">
                  <c:v>92.57</c:v>
                </c:pt>
                <c:pt idx="247">
                  <c:v>97.46</c:v>
                </c:pt>
                <c:pt idx="248">
                  <c:v>96.07</c:v>
                </c:pt>
                <c:pt idx="249">
                  <c:v>63.07</c:v>
                </c:pt>
                <c:pt idx="250">
                  <c:v>66.650000000000006</c:v>
                </c:pt>
                <c:pt idx="251">
                  <c:v>97.18</c:v>
                </c:pt>
                <c:pt idx="252">
                  <c:v>91.88</c:v>
                </c:pt>
                <c:pt idx="253">
                  <c:v>102.79</c:v>
                </c:pt>
                <c:pt idx="254">
                  <c:v>96.99</c:v>
                </c:pt>
                <c:pt idx="255">
                  <c:v>84.24</c:v>
                </c:pt>
                <c:pt idx="256">
                  <c:v>68.64</c:v>
                </c:pt>
                <c:pt idx="257">
                  <c:v>62.21</c:v>
                </c:pt>
                <c:pt idx="258">
                  <c:v>95.19</c:v>
                </c:pt>
                <c:pt idx="259">
                  <c:v>105.42</c:v>
                </c:pt>
                <c:pt idx="260">
                  <c:v>89.11</c:v>
                </c:pt>
                <c:pt idx="261">
                  <c:v>96.53</c:v>
                </c:pt>
                <c:pt idx="262">
                  <c:v>94.71</c:v>
                </c:pt>
                <c:pt idx="263">
                  <c:v>71.63</c:v>
                </c:pt>
                <c:pt idx="264">
                  <c:v>61.15</c:v>
                </c:pt>
                <c:pt idx="265">
                  <c:v>93.44</c:v>
                </c:pt>
                <c:pt idx="266">
                  <c:v>100.43</c:v>
                </c:pt>
                <c:pt idx="267">
                  <c:v>108.92</c:v>
                </c:pt>
                <c:pt idx="268">
                  <c:v>97.85</c:v>
                </c:pt>
                <c:pt idx="269">
                  <c:v>94.52</c:v>
                </c:pt>
                <c:pt idx="270">
                  <c:v>82.82</c:v>
                </c:pt>
                <c:pt idx="271">
                  <c:v>67.930000000000007</c:v>
                </c:pt>
                <c:pt idx="272">
                  <c:v>101.65</c:v>
                </c:pt>
                <c:pt idx="273">
                  <c:v>91.57</c:v>
                </c:pt>
                <c:pt idx="274">
                  <c:v>81.58</c:v>
                </c:pt>
                <c:pt idx="275">
                  <c:v>85.67</c:v>
                </c:pt>
                <c:pt idx="276">
                  <c:v>71.37</c:v>
                </c:pt>
                <c:pt idx="277">
                  <c:v>65.2</c:v>
                </c:pt>
                <c:pt idx="278">
                  <c:v>43.9</c:v>
                </c:pt>
                <c:pt idx="279">
                  <c:v>131.4</c:v>
                </c:pt>
                <c:pt idx="280">
                  <c:v>102.45</c:v>
                </c:pt>
                <c:pt idx="281">
                  <c:v>117.35</c:v>
                </c:pt>
                <c:pt idx="282">
                  <c:v>111.88</c:v>
                </c:pt>
                <c:pt idx="283">
                  <c:v>99.92</c:v>
                </c:pt>
                <c:pt idx="284">
                  <c:v>67.34</c:v>
                </c:pt>
                <c:pt idx="285">
                  <c:v>67.25</c:v>
                </c:pt>
                <c:pt idx="286">
                  <c:v>91.98</c:v>
                </c:pt>
                <c:pt idx="287">
                  <c:v>102.15</c:v>
                </c:pt>
                <c:pt idx="288">
                  <c:v>88.59</c:v>
                </c:pt>
                <c:pt idx="289">
                  <c:v>88.77</c:v>
                </c:pt>
                <c:pt idx="290">
                  <c:v>76.14</c:v>
                </c:pt>
                <c:pt idx="291">
                  <c:v>68.099999999999994</c:v>
                </c:pt>
                <c:pt idx="292">
                  <c:v>58.58</c:v>
                </c:pt>
                <c:pt idx="293">
                  <c:v>73.87</c:v>
                </c:pt>
                <c:pt idx="294">
                  <c:v>84.33</c:v>
                </c:pt>
                <c:pt idx="295">
                  <c:v>99.85</c:v>
                </c:pt>
                <c:pt idx="296">
                  <c:v>91.38</c:v>
                </c:pt>
                <c:pt idx="297">
                  <c:v>85.64</c:v>
                </c:pt>
                <c:pt idx="298">
                  <c:v>70.09</c:v>
                </c:pt>
                <c:pt idx="299">
                  <c:v>49.65</c:v>
                </c:pt>
                <c:pt idx="300">
                  <c:v>102.32</c:v>
                </c:pt>
                <c:pt idx="301">
                  <c:v>96.42</c:v>
                </c:pt>
                <c:pt idx="302">
                  <c:v>97.84</c:v>
                </c:pt>
                <c:pt idx="303">
                  <c:v>97.62</c:v>
                </c:pt>
                <c:pt idx="304">
                  <c:v>85.58</c:v>
                </c:pt>
                <c:pt idx="305">
                  <c:v>54.08</c:v>
                </c:pt>
                <c:pt idx="306">
                  <c:v>47.41</c:v>
                </c:pt>
                <c:pt idx="307">
                  <c:v>83.73</c:v>
                </c:pt>
                <c:pt idx="308">
                  <c:v>83.07</c:v>
                </c:pt>
                <c:pt idx="309">
                  <c:v>73.849999999999994</c:v>
                </c:pt>
                <c:pt idx="310">
                  <c:v>83.57</c:v>
                </c:pt>
                <c:pt idx="311">
                  <c:v>77.39</c:v>
                </c:pt>
                <c:pt idx="312">
                  <c:v>60.18</c:v>
                </c:pt>
                <c:pt idx="313">
                  <c:v>38.83</c:v>
                </c:pt>
                <c:pt idx="314">
                  <c:v>50.61</c:v>
                </c:pt>
                <c:pt idx="315">
                  <c:v>56.35</c:v>
                </c:pt>
                <c:pt idx="316">
                  <c:v>71.11</c:v>
                </c:pt>
                <c:pt idx="317">
                  <c:v>77.86</c:v>
                </c:pt>
                <c:pt idx="318">
                  <c:v>66.819999999999993</c:v>
                </c:pt>
                <c:pt idx="319">
                  <c:v>51.61</c:v>
                </c:pt>
                <c:pt idx="320">
                  <c:v>30.46</c:v>
                </c:pt>
                <c:pt idx="321">
                  <c:v>69.209999999999994</c:v>
                </c:pt>
                <c:pt idx="322">
                  <c:v>59.35</c:v>
                </c:pt>
                <c:pt idx="323">
                  <c:v>59.56</c:v>
                </c:pt>
                <c:pt idx="324">
                  <c:v>56.97</c:v>
                </c:pt>
                <c:pt idx="325">
                  <c:v>57.62</c:v>
                </c:pt>
                <c:pt idx="326">
                  <c:v>41.71</c:v>
                </c:pt>
                <c:pt idx="327">
                  <c:v>36.15</c:v>
                </c:pt>
                <c:pt idx="328">
                  <c:v>95.2</c:v>
                </c:pt>
                <c:pt idx="329">
                  <c:v>104.91</c:v>
                </c:pt>
                <c:pt idx="330">
                  <c:v>70.48</c:v>
                </c:pt>
                <c:pt idx="331">
                  <c:v>70.849999999999994</c:v>
                </c:pt>
                <c:pt idx="332">
                  <c:v>73.260000000000005</c:v>
                </c:pt>
                <c:pt idx="333">
                  <c:v>58.75</c:v>
                </c:pt>
                <c:pt idx="334">
                  <c:v>50.59</c:v>
                </c:pt>
                <c:pt idx="335">
                  <c:v>70.819999999999993</c:v>
                </c:pt>
                <c:pt idx="336">
                  <c:v>71.05</c:v>
                </c:pt>
                <c:pt idx="337">
                  <c:v>66.17</c:v>
                </c:pt>
                <c:pt idx="338">
                  <c:v>68.290000000000006</c:v>
                </c:pt>
                <c:pt idx="339">
                  <c:v>65.13</c:v>
                </c:pt>
                <c:pt idx="340">
                  <c:v>58.89</c:v>
                </c:pt>
                <c:pt idx="341">
                  <c:v>52.19</c:v>
                </c:pt>
                <c:pt idx="342">
                  <c:v>67.430000000000007</c:v>
                </c:pt>
                <c:pt idx="343">
                  <c:v>81.63</c:v>
                </c:pt>
                <c:pt idx="344">
                  <c:v>78.91</c:v>
                </c:pt>
                <c:pt idx="345">
                  <c:v>86.64</c:v>
                </c:pt>
                <c:pt idx="346">
                  <c:v>70.959999999999994</c:v>
                </c:pt>
                <c:pt idx="347">
                  <c:v>42.33</c:v>
                </c:pt>
                <c:pt idx="348">
                  <c:v>34.58</c:v>
                </c:pt>
                <c:pt idx="349">
                  <c:v>69.53</c:v>
                </c:pt>
                <c:pt idx="350">
                  <c:v>69.11</c:v>
                </c:pt>
                <c:pt idx="351">
                  <c:v>68.17</c:v>
                </c:pt>
                <c:pt idx="352">
                  <c:v>59.08</c:v>
                </c:pt>
                <c:pt idx="353">
                  <c:v>52.69</c:v>
                </c:pt>
                <c:pt idx="354">
                  <c:v>38.9</c:v>
                </c:pt>
                <c:pt idx="355">
                  <c:v>33.75</c:v>
                </c:pt>
                <c:pt idx="356">
                  <c:v>22.7</c:v>
                </c:pt>
                <c:pt idx="357">
                  <c:v>43.41</c:v>
                </c:pt>
                <c:pt idx="358">
                  <c:v>29.89</c:v>
                </c:pt>
                <c:pt idx="359">
                  <c:v>24.25</c:v>
                </c:pt>
                <c:pt idx="360">
                  <c:v>31.34</c:v>
                </c:pt>
                <c:pt idx="361">
                  <c:v>48.13</c:v>
                </c:pt>
                <c:pt idx="362">
                  <c:v>40.729999999999997</c:v>
                </c:pt>
                <c:pt idx="363">
                  <c:v>51.08</c:v>
                </c:pt>
                <c:pt idx="364">
                  <c:v>51.91</c:v>
                </c:pt>
                <c:pt idx="365">
                  <c:v>41.38</c:v>
                </c:pt>
                <c:pt idx="366">
                  <c:v>41.96</c:v>
                </c:pt>
                <c:pt idx="367">
                  <c:v>53.74</c:v>
                </c:pt>
                <c:pt idx="368">
                  <c:v>45.25</c:v>
                </c:pt>
                <c:pt idx="369">
                  <c:v>45.04</c:v>
                </c:pt>
                <c:pt idx="370">
                  <c:v>52.31</c:v>
                </c:pt>
                <c:pt idx="371">
                  <c:v>50.3</c:v>
                </c:pt>
                <c:pt idx="372">
                  <c:v>64.739999999999995</c:v>
                </c:pt>
                <c:pt idx="373">
                  <c:v>79.45</c:v>
                </c:pt>
                <c:pt idx="374">
                  <c:v>75.03</c:v>
                </c:pt>
                <c:pt idx="375">
                  <c:v>50.36</c:v>
                </c:pt>
                <c:pt idx="376">
                  <c:v>39.200000000000003</c:v>
                </c:pt>
                <c:pt idx="377">
                  <c:v>57.79</c:v>
                </c:pt>
                <c:pt idx="378">
                  <c:v>74.180000000000007</c:v>
                </c:pt>
                <c:pt idx="379">
                  <c:v>76.55</c:v>
                </c:pt>
                <c:pt idx="380">
                  <c:v>86.36</c:v>
                </c:pt>
                <c:pt idx="381">
                  <c:v>67.95</c:v>
                </c:pt>
                <c:pt idx="382">
                  <c:v>51.47</c:v>
                </c:pt>
                <c:pt idx="383">
                  <c:v>36.39</c:v>
                </c:pt>
                <c:pt idx="384">
                  <c:v>56.39</c:v>
                </c:pt>
                <c:pt idx="385">
                  <c:v>58.83</c:v>
                </c:pt>
                <c:pt idx="386">
                  <c:v>60.53</c:v>
                </c:pt>
                <c:pt idx="387">
                  <c:v>55.04</c:v>
                </c:pt>
                <c:pt idx="388">
                  <c:v>49.46</c:v>
                </c:pt>
                <c:pt idx="389">
                  <c:v>39.46</c:v>
                </c:pt>
                <c:pt idx="390">
                  <c:v>42.31</c:v>
                </c:pt>
                <c:pt idx="391">
                  <c:v>61.56</c:v>
                </c:pt>
                <c:pt idx="392">
                  <c:v>62.52</c:v>
                </c:pt>
                <c:pt idx="393">
                  <c:v>62.13</c:v>
                </c:pt>
                <c:pt idx="394">
                  <c:v>69.900000000000006</c:v>
                </c:pt>
                <c:pt idx="395">
                  <c:v>60.33</c:v>
                </c:pt>
                <c:pt idx="396">
                  <c:v>44.2</c:v>
                </c:pt>
                <c:pt idx="397">
                  <c:v>37.33</c:v>
                </c:pt>
                <c:pt idx="398">
                  <c:v>49.47</c:v>
                </c:pt>
                <c:pt idx="399">
                  <c:v>60.44</c:v>
                </c:pt>
                <c:pt idx="400">
                  <c:v>64.03</c:v>
                </c:pt>
                <c:pt idx="401">
                  <c:v>57.35</c:v>
                </c:pt>
                <c:pt idx="402">
                  <c:v>55.5</c:v>
                </c:pt>
                <c:pt idx="403">
                  <c:v>45.8</c:v>
                </c:pt>
                <c:pt idx="404">
                  <c:v>39.4</c:v>
                </c:pt>
                <c:pt idx="405">
                  <c:v>61.47</c:v>
                </c:pt>
                <c:pt idx="406">
                  <c:v>46.29</c:v>
                </c:pt>
                <c:pt idx="407">
                  <c:v>49</c:v>
                </c:pt>
                <c:pt idx="408">
                  <c:v>52.18</c:v>
                </c:pt>
                <c:pt idx="409">
                  <c:v>55.92</c:v>
                </c:pt>
                <c:pt idx="410">
                  <c:v>42.37</c:v>
                </c:pt>
                <c:pt idx="411">
                  <c:v>34.270000000000003</c:v>
                </c:pt>
                <c:pt idx="412">
                  <c:v>65.91</c:v>
                </c:pt>
                <c:pt idx="413">
                  <c:v>52.15</c:v>
                </c:pt>
                <c:pt idx="414">
                  <c:v>51.86</c:v>
                </c:pt>
                <c:pt idx="415">
                  <c:v>52.27</c:v>
                </c:pt>
                <c:pt idx="416">
                  <c:v>48.54</c:v>
                </c:pt>
                <c:pt idx="417">
                  <c:v>44.63</c:v>
                </c:pt>
                <c:pt idx="418">
                  <c:v>24.98</c:v>
                </c:pt>
                <c:pt idx="419">
                  <c:v>37.01</c:v>
                </c:pt>
                <c:pt idx="420">
                  <c:v>49.31</c:v>
                </c:pt>
                <c:pt idx="421">
                  <c:v>41.88</c:v>
                </c:pt>
                <c:pt idx="422">
                  <c:v>38.04</c:v>
                </c:pt>
                <c:pt idx="423">
                  <c:v>40.9</c:v>
                </c:pt>
                <c:pt idx="424">
                  <c:v>39.74</c:v>
                </c:pt>
                <c:pt idx="425">
                  <c:v>41.04</c:v>
                </c:pt>
                <c:pt idx="426">
                  <c:v>47</c:v>
                </c:pt>
                <c:pt idx="427">
                  <c:v>40.58</c:v>
                </c:pt>
                <c:pt idx="428">
                  <c:v>40.799999999999997</c:v>
                </c:pt>
                <c:pt idx="429">
                  <c:v>44.33</c:v>
                </c:pt>
                <c:pt idx="430">
                  <c:v>40.479999999999997</c:v>
                </c:pt>
                <c:pt idx="431">
                  <c:v>35.76</c:v>
                </c:pt>
                <c:pt idx="432">
                  <c:v>13</c:v>
                </c:pt>
                <c:pt idx="433">
                  <c:v>38.19</c:v>
                </c:pt>
                <c:pt idx="434">
                  <c:v>42.3</c:v>
                </c:pt>
                <c:pt idx="435">
                  <c:v>41.79</c:v>
                </c:pt>
                <c:pt idx="436">
                  <c:v>41.42</c:v>
                </c:pt>
                <c:pt idx="437">
                  <c:v>42.85</c:v>
                </c:pt>
                <c:pt idx="438">
                  <c:v>35.549999999999997</c:v>
                </c:pt>
                <c:pt idx="439">
                  <c:v>27.28</c:v>
                </c:pt>
                <c:pt idx="440">
                  <c:v>38.19</c:v>
                </c:pt>
                <c:pt idx="441">
                  <c:v>37.340000000000003</c:v>
                </c:pt>
                <c:pt idx="442">
                  <c:v>36.82</c:v>
                </c:pt>
                <c:pt idx="443">
                  <c:v>38.200000000000003</c:v>
                </c:pt>
                <c:pt idx="444">
                  <c:v>39.4</c:v>
                </c:pt>
                <c:pt idx="445">
                  <c:v>35.33</c:v>
                </c:pt>
                <c:pt idx="446">
                  <c:v>23.98</c:v>
                </c:pt>
                <c:pt idx="447">
                  <c:v>30.67</c:v>
                </c:pt>
                <c:pt idx="448">
                  <c:v>38.770000000000003</c:v>
                </c:pt>
                <c:pt idx="449">
                  <c:v>40.46</c:v>
                </c:pt>
                <c:pt idx="450">
                  <c:v>40.44</c:v>
                </c:pt>
                <c:pt idx="451">
                  <c:v>35.54</c:v>
                </c:pt>
                <c:pt idx="452">
                  <c:v>34.49</c:v>
                </c:pt>
                <c:pt idx="453">
                  <c:v>30.13</c:v>
                </c:pt>
                <c:pt idx="454">
                  <c:v>41.93</c:v>
                </c:pt>
                <c:pt idx="455">
                  <c:v>38.96</c:v>
                </c:pt>
                <c:pt idx="456">
                  <c:v>40.57</c:v>
                </c:pt>
                <c:pt idx="457">
                  <c:v>38.14</c:v>
                </c:pt>
                <c:pt idx="458">
                  <c:v>37.590000000000003</c:v>
                </c:pt>
                <c:pt idx="459">
                  <c:v>34.549999999999997</c:v>
                </c:pt>
                <c:pt idx="460">
                  <c:v>29.71</c:v>
                </c:pt>
                <c:pt idx="461">
                  <c:v>37.869999999999997</c:v>
                </c:pt>
                <c:pt idx="462">
                  <c:v>31.87</c:v>
                </c:pt>
                <c:pt idx="463">
                  <c:v>35.54</c:v>
                </c:pt>
                <c:pt idx="464">
                  <c:v>34.630000000000003</c:v>
                </c:pt>
                <c:pt idx="465">
                  <c:v>28.88</c:v>
                </c:pt>
                <c:pt idx="466">
                  <c:v>26.7</c:v>
                </c:pt>
                <c:pt idx="467">
                  <c:v>20.98</c:v>
                </c:pt>
                <c:pt idx="468">
                  <c:v>23</c:v>
                </c:pt>
                <c:pt idx="469">
                  <c:v>36.24</c:v>
                </c:pt>
                <c:pt idx="470">
                  <c:v>31.55</c:v>
                </c:pt>
                <c:pt idx="471">
                  <c:v>33.65</c:v>
                </c:pt>
                <c:pt idx="472">
                  <c:v>32.700000000000003</c:v>
                </c:pt>
                <c:pt idx="473">
                  <c:v>23.54</c:v>
                </c:pt>
                <c:pt idx="474">
                  <c:v>18.47</c:v>
                </c:pt>
                <c:pt idx="475">
                  <c:v>38.409999999999997</c:v>
                </c:pt>
                <c:pt idx="476">
                  <c:v>38.78</c:v>
                </c:pt>
                <c:pt idx="477">
                  <c:v>37.26</c:v>
                </c:pt>
                <c:pt idx="478">
                  <c:v>39.909999999999997</c:v>
                </c:pt>
                <c:pt idx="479">
                  <c:v>38.299999999999997</c:v>
                </c:pt>
                <c:pt idx="480">
                  <c:v>29.87</c:v>
                </c:pt>
                <c:pt idx="481">
                  <c:v>22.02</c:v>
                </c:pt>
                <c:pt idx="482">
                  <c:v>33.85</c:v>
                </c:pt>
                <c:pt idx="483">
                  <c:v>39.64</c:v>
                </c:pt>
                <c:pt idx="484">
                  <c:v>40.229999999999997</c:v>
                </c:pt>
                <c:pt idx="485">
                  <c:v>37.18</c:v>
                </c:pt>
                <c:pt idx="486">
                  <c:v>24.04</c:v>
                </c:pt>
                <c:pt idx="487">
                  <c:v>33.130000000000003</c:v>
                </c:pt>
                <c:pt idx="488">
                  <c:v>25.09</c:v>
                </c:pt>
                <c:pt idx="489">
                  <c:v>17.059999999999999</c:v>
                </c:pt>
                <c:pt idx="490">
                  <c:v>36.72</c:v>
                </c:pt>
                <c:pt idx="491">
                  <c:v>36.46</c:v>
                </c:pt>
                <c:pt idx="492">
                  <c:v>37.229999999999997</c:v>
                </c:pt>
                <c:pt idx="493">
                  <c:v>34.880000000000003</c:v>
                </c:pt>
                <c:pt idx="494">
                  <c:v>28.55</c:v>
                </c:pt>
                <c:pt idx="495">
                  <c:v>25.61</c:v>
                </c:pt>
                <c:pt idx="496">
                  <c:v>33</c:v>
                </c:pt>
                <c:pt idx="497">
                  <c:v>33.14</c:v>
                </c:pt>
                <c:pt idx="498">
                  <c:v>35.229999999999997</c:v>
                </c:pt>
                <c:pt idx="499">
                  <c:v>32.340000000000003</c:v>
                </c:pt>
                <c:pt idx="500">
                  <c:v>30.97</c:v>
                </c:pt>
                <c:pt idx="501">
                  <c:v>31.12</c:v>
                </c:pt>
                <c:pt idx="502">
                  <c:v>17.46</c:v>
                </c:pt>
                <c:pt idx="503">
                  <c:v>36.75</c:v>
                </c:pt>
                <c:pt idx="504">
                  <c:v>41.05</c:v>
                </c:pt>
                <c:pt idx="505">
                  <c:v>38.49</c:v>
                </c:pt>
                <c:pt idx="506">
                  <c:v>35.08</c:v>
                </c:pt>
                <c:pt idx="507">
                  <c:v>29.03</c:v>
                </c:pt>
                <c:pt idx="508">
                  <c:v>27.83</c:v>
                </c:pt>
                <c:pt idx="509">
                  <c:v>28.46</c:v>
                </c:pt>
                <c:pt idx="510">
                  <c:v>38.75</c:v>
                </c:pt>
                <c:pt idx="511">
                  <c:v>30.46</c:v>
                </c:pt>
                <c:pt idx="512">
                  <c:v>32.57</c:v>
                </c:pt>
                <c:pt idx="513">
                  <c:v>34.39</c:v>
                </c:pt>
                <c:pt idx="514">
                  <c:v>31.57</c:v>
                </c:pt>
                <c:pt idx="515">
                  <c:v>25.56</c:v>
                </c:pt>
                <c:pt idx="516">
                  <c:v>16.86</c:v>
                </c:pt>
                <c:pt idx="517">
                  <c:v>18.329999999999998</c:v>
                </c:pt>
                <c:pt idx="518">
                  <c:v>33.450000000000003</c:v>
                </c:pt>
                <c:pt idx="519">
                  <c:v>30.31</c:v>
                </c:pt>
                <c:pt idx="520">
                  <c:v>37.25</c:v>
                </c:pt>
                <c:pt idx="521">
                  <c:v>38.32</c:v>
                </c:pt>
                <c:pt idx="522">
                  <c:v>34.53</c:v>
                </c:pt>
                <c:pt idx="523">
                  <c:v>27.27</c:v>
                </c:pt>
                <c:pt idx="524">
                  <c:v>38.67</c:v>
                </c:pt>
                <c:pt idx="525">
                  <c:v>39.39</c:v>
                </c:pt>
                <c:pt idx="526">
                  <c:v>36.799999999999997</c:v>
                </c:pt>
                <c:pt idx="527">
                  <c:v>30.94</c:v>
                </c:pt>
                <c:pt idx="528">
                  <c:v>26.66</c:v>
                </c:pt>
                <c:pt idx="529">
                  <c:v>28.64</c:v>
                </c:pt>
                <c:pt idx="530">
                  <c:v>27.84</c:v>
                </c:pt>
                <c:pt idx="531">
                  <c:v>41.06</c:v>
                </c:pt>
                <c:pt idx="532">
                  <c:v>40.130000000000003</c:v>
                </c:pt>
                <c:pt idx="533">
                  <c:v>35.799999999999997</c:v>
                </c:pt>
                <c:pt idx="534">
                  <c:v>37.75</c:v>
                </c:pt>
                <c:pt idx="535">
                  <c:v>34.6</c:v>
                </c:pt>
                <c:pt idx="536">
                  <c:v>28.46</c:v>
                </c:pt>
                <c:pt idx="537">
                  <c:v>23.76</c:v>
                </c:pt>
                <c:pt idx="538">
                  <c:v>32.64</c:v>
                </c:pt>
                <c:pt idx="539">
                  <c:v>33.85</c:v>
                </c:pt>
                <c:pt idx="540">
                  <c:v>33.869999999999997</c:v>
                </c:pt>
                <c:pt idx="541">
                  <c:v>37.11</c:v>
                </c:pt>
                <c:pt idx="542">
                  <c:v>36.049999999999997</c:v>
                </c:pt>
                <c:pt idx="543">
                  <c:v>31.15</c:v>
                </c:pt>
                <c:pt idx="544">
                  <c:v>21.9</c:v>
                </c:pt>
                <c:pt idx="545">
                  <c:v>38.020000000000003</c:v>
                </c:pt>
                <c:pt idx="546">
                  <c:v>41.88</c:v>
                </c:pt>
                <c:pt idx="547">
                  <c:v>47.69</c:v>
                </c:pt>
                <c:pt idx="548">
                  <c:v>46.9</c:v>
                </c:pt>
                <c:pt idx="549">
                  <c:v>44.19</c:v>
                </c:pt>
                <c:pt idx="550">
                  <c:v>36.19</c:v>
                </c:pt>
                <c:pt idx="551">
                  <c:v>31.78</c:v>
                </c:pt>
                <c:pt idx="552">
                  <c:v>44.18</c:v>
                </c:pt>
                <c:pt idx="553">
                  <c:v>36.99</c:v>
                </c:pt>
                <c:pt idx="554">
                  <c:v>38.840000000000003</c:v>
                </c:pt>
                <c:pt idx="555">
                  <c:v>35.979999999999997</c:v>
                </c:pt>
                <c:pt idx="556">
                  <c:v>32.85</c:v>
                </c:pt>
                <c:pt idx="557">
                  <c:v>33.32</c:v>
                </c:pt>
                <c:pt idx="558">
                  <c:v>31.57</c:v>
                </c:pt>
                <c:pt idx="559">
                  <c:v>39.15</c:v>
                </c:pt>
                <c:pt idx="560">
                  <c:v>37.26</c:v>
                </c:pt>
                <c:pt idx="561">
                  <c:v>41.22</c:v>
                </c:pt>
                <c:pt idx="562">
                  <c:v>40.11</c:v>
                </c:pt>
                <c:pt idx="563">
                  <c:v>35.380000000000003</c:v>
                </c:pt>
                <c:pt idx="564">
                  <c:v>31.29</c:v>
                </c:pt>
                <c:pt idx="565">
                  <c:v>22.37</c:v>
                </c:pt>
                <c:pt idx="566">
                  <c:v>35.01</c:v>
                </c:pt>
                <c:pt idx="567">
                  <c:v>36.4</c:v>
                </c:pt>
                <c:pt idx="568">
                  <c:v>36.01</c:v>
                </c:pt>
                <c:pt idx="569">
                  <c:v>38.22</c:v>
                </c:pt>
                <c:pt idx="570">
                  <c:v>36.11</c:v>
                </c:pt>
                <c:pt idx="571">
                  <c:v>19.95</c:v>
                </c:pt>
                <c:pt idx="572">
                  <c:v>27.83</c:v>
                </c:pt>
                <c:pt idx="573">
                  <c:v>35.32</c:v>
                </c:pt>
                <c:pt idx="574">
                  <c:v>34.36</c:v>
                </c:pt>
                <c:pt idx="575">
                  <c:v>33.22</c:v>
                </c:pt>
                <c:pt idx="576">
                  <c:v>27.29</c:v>
                </c:pt>
                <c:pt idx="577">
                  <c:v>34.28</c:v>
                </c:pt>
                <c:pt idx="578">
                  <c:v>31.85</c:v>
                </c:pt>
                <c:pt idx="579">
                  <c:v>24.74</c:v>
                </c:pt>
                <c:pt idx="580">
                  <c:v>32.79</c:v>
                </c:pt>
                <c:pt idx="581">
                  <c:v>35.840000000000003</c:v>
                </c:pt>
                <c:pt idx="582">
                  <c:v>32.68</c:v>
                </c:pt>
                <c:pt idx="583">
                  <c:v>36.619999999999997</c:v>
                </c:pt>
                <c:pt idx="584">
                  <c:v>34.19</c:v>
                </c:pt>
                <c:pt idx="585">
                  <c:v>28.46</c:v>
                </c:pt>
                <c:pt idx="586">
                  <c:v>27.98</c:v>
                </c:pt>
                <c:pt idx="587">
                  <c:v>36.020000000000003</c:v>
                </c:pt>
                <c:pt idx="588">
                  <c:v>34.07</c:v>
                </c:pt>
                <c:pt idx="589">
                  <c:v>31.99</c:v>
                </c:pt>
                <c:pt idx="590">
                  <c:v>33.35</c:v>
                </c:pt>
                <c:pt idx="591">
                  <c:v>36.71</c:v>
                </c:pt>
                <c:pt idx="592">
                  <c:v>30.26</c:v>
                </c:pt>
                <c:pt idx="593">
                  <c:v>22.22</c:v>
                </c:pt>
                <c:pt idx="594">
                  <c:v>36.26</c:v>
                </c:pt>
                <c:pt idx="595">
                  <c:v>40.869999999999997</c:v>
                </c:pt>
                <c:pt idx="596">
                  <c:v>39.450000000000003</c:v>
                </c:pt>
                <c:pt idx="597">
                  <c:v>38.21</c:v>
                </c:pt>
                <c:pt idx="598">
                  <c:v>44.71</c:v>
                </c:pt>
                <c:pt idx="599">
                  <c:v>39.81</c:v>
                </c:pt>
                <c:pt idx="600">
                  <c:v>34.94</c:v>
                </c:pt>
                <c:pt idx="601">
                  <c:v>45.18</c:v>
                </c:pt>
                <c:pt idx="602">
                  <c:v>51.77</c:v>
                </c:pt>
                <c:pt idx="603">
                  <c:v>49.83</c:v>
                </c:pt>
                <c:pt idx="604">
                  <c:v>53.59</c:v>
                </c:pt>
                <c:pt idx="605">
                  <c:v>41.53</c:v>
                </c:pt>
                <c:pt idx="606">
                  <c:v>34.85</c:v>
                </c:pt>
                <c:pt idx="607">
                  <c:v>15.3</c:v>
                </c:pt>
                <c:pt idx="608">
                  <c:v>42.17</c:v>
                </c:pt>
                <c:pt idx="609">
                  <c:v>37.25</c:v>
                </c:pt>
                <c:pt idx="610">
                  <c:v>40.92</c:v>
                </c:pt>
                <c:pt idx="611">
                  <c:v>37.92</c:v>
                </c:pt>
                <c:pt idx="612">
                  <c:v>30.56</c:v>
                </c:pt>
                <c:pt idx="613">
                  <c:v>23.67</c:v>
                </c:pt>
                <c:pt idx="614">
                  <c:v>21.91</c:v>
                </c:pt>
                <c:pt idx="615">
                  <c:v>38.979999999999997</c:v>
                </c:pt>
                <c:pt idx="616">
                  <c:v>46.71</c:v>
                </c:pt>
                <c:pt idx="617">
                  <c:v>45.31</c:v>
                </c:pt>
                <c:pt idx="618">
                  <c:v>43.34</c:v>
                </c:pt>
                <c:pt idx="619">
                  <c:v>40.049999999999997</c:v>
                </c:pt>
                <c:pt idx="620">
                  <c:v>34.56</c:v>
                </c:pt>
                <c:pt idx="621">
                  <c:v>30.93</c:v>
                </c:pt>
                <c:pt idx="622">
                  <c:v>35.93</c:v>
                </c:pt>
                <c:pt idx="623">
                  <c:v>35.43</c:v>
                </c:pt>
                <c:pt idx="624">
                  <c:v>37.520000000000003</c:v>
                </c:pt>
                <c:pt idx="625">
                  <c:v>42.98</c:v>
                </c:pt>
                <c:pt idx="626">
                  <c:v>41.07</c:v>
                </c:pt>
                <c:pt idx="627">
                  <c:v>36.49</c:v>
                </c:pt>
                <c:pt idx="628">
                  <c:v>30.89</c:v>
                </c:pt>
                <c:pt idx="629">
                  <c:v>48.31</c:v>
                </c:pt>
                <c:pt idx="630">
                  <c:v>43.28</c:v>
                </c:pt>
                <c:pt idx="631">
                  <c:v>42.77</c:v>
                </c:pt>
                <c:pt idx="632">
                  <c:v>46.43</c:v>
                </c:pt>
                <c:pt idx="633">
                  <c:v>43.89</c:v>
                </c:pt>
                <c:pt idx="634">
                  <c:v>37.28</c:v>
                </c:pt>
                <c:pt idx="635">
                  <c:v>33.79</c:v>
                </c:pt>
                <c:pt idx="636">
                  <c:v>45.83</c:v>
                </c:pt>
                <c:pt idx="637">
                  <c:v>50.35</c:v>
                </c:pt>
                <c:pt idx="638">
                  <c:v>63.14</c:v>
                </c:pt>
                <c:pt idx="639">
                  <c:v>43.97</c:v>
                </c:pt>
                <c:pt idx="640">
                  <c:v>48.63</c:v>
                </c:pt>
                <c:pt idx="641">
                  <c:v>27.98</c:v>
                </c:pt>
                <c:pt idx="642">
                  <c:v>-11.59</c:v>
                </c:pt>
                <c:pt idx="643">
                  <c:v>52.5</c:v>
                </c:pt>
                <c:pt idx="644">
                  <c:v>61.69</c:v>
                </c:pt>
                <c:pt idx="645">
                  <c:v>55.54</c:v>
                </c:pt>
                <c:pt idx="646">
                  <c:v>53.77</c:v>
                </c:pt>
                <c:pt idx="647">
                  <c:v>48.91</c:v>
                </c:pt>
                <c:pt idx="648">
                  <c:v>37.18</c:v>
                </c:pt>
                <c:pt idx="649">
                  <c:v>32.01</c:v>
                </c:pt>
                <c:pt idx="650">
                  <c:v>38.479999999999997</c:v>
                </c:pt>
                <c:pt idx="651">
                  <c:v>41.51</c:v>
                </c:pt>
                <c:pt idx="652">
                  <c:v>45.5</c:v>
                </c:pt>
                <c:pt idx="653">
                  <c:v>48.12</c:v>
                </c:pt>
                <c:pt idx="654">
                  <c:v>41.89</c:v>
                </c:pt>
                <c:pt idx="655">
                  <c:v>42.49</c:v>
                </c:pt>
                <c:pt idx="656">
                  <c:v>38.619999999999997</c:v>
                </c:pt>
                <c:pt idx="657">
                  <c:v>59.84</c:v>
                </c:pt>
                <c:pt idx="658">
                  <c:v>51.82</c:v>
                </c:pt>
                <c:pt idx="659">
                  <c:v>51.69</c:v>
                </c:pt>
                <c:pt idx="660">
                  <c:v>50.64</c:v>
                </c:pt>
                <c:pt idx="661">
                  <c:v>57.32</c:v>
                </c:pt>
                <c:pt idx="662">
                  <c:v>38.19</c:v>
                </c:pt>
                <c:pt idx="663">
                  <c:v>26.4</c:v>
                </c:pt>
                <c:pt idx="664">
                  <c:v>39.450000000000003</c:v>
                </c:pt>
                <c:pt idx="665">
                  <c:v>57.01</c:v>
                </c:pt>
                <c:pt idx="666">
                  <c:v>56.49</c:v>
                </c:pt>
                <c:pt idx="667">
                  <c:v>59.02</c:v>
                </c:pt>
                <c:pt idx="668">
                  <c:v>43.62</c:v>
                </c:pt>
                <c:pt idx="669">
                  <c:v>41.93</c:v>
                </c:pt>
                <c:pt idx="670">
                  <c:v>35.340000000000003</c:v>
                </c:pt>
                <c:pt idx="671">
                  <c:v>51.69</c:v>
                </c:pt>
                <c:pt idx="672">
                  <c:v>48.19</c:v>
                </c:pt>
                <c:pt idx="673">
                  <c:v>38.04</c:v>
                </c:pt>
                <c:pt idx="674">
                  <c:v>39.29</c:v>
                </c:pt>
                <c:pt idx="675">
                  <c:v>41.91</c:v>
                </c:pt>
                <c:pt idx="676">
                  <c:v>32.840000000000003</c:v>
                </c:pt>
                <c:pt idx="677">
                  <c:v>31.06</c:v>
                </c:pt>
                <c:pt idx="678">
                  <c:v>37.479999999999997</c:v>
                </c:pt>
                <c:pt idx="679">
                  <c:v>48.74</c:v>
                </c:pt>
                <c:pt idx="680">
                  <c:v>41.21</c:v>
                </c:pt>
                <c:pt idx="681">
                  <c:v>46.18</c:v>
                </c:pt>
                <c:pt idx="682">
                  <c:v>39.229999999999997</c:v>
                </c:pt>
                <c:pt idx="683">
                  <c:v>33.43</c:v>
                </c:pt>
                <c:pt idx="684">
                  <c:v>27.47</c:v>
                </c:pt>
                <c:pt idx="685">
                  <c:v>38.950000000000003</c:v>
                </c:pt>
                <c:pt idx="686">
                  <c:v>39.549999999999997</c:v>
                </c:pt>
                <c:pt idx="687">
                  <c:v>33.51</c:v>
                </c:pt>
                <c:pt idx="688">
                  <c:v>35.96</c:v>
                </c:pt>
                <c:pt idx="689">
                  <c:v>33.380000000000003</c:v>
                </c:pt>
                <c:pt idx="690">
                  <c:v>35.97</c:v>
                </c:pt>
                <c:pt idx="691">
                  <c:v>27.66</c:v>
                </c:pt>
                <c:pt idx="692">
                  <c:v>25.97</c:v>
                </c:pt>
                <c:pt idx="693">
                  <c:v>23.08</c:v>
                </c:pt>
                <c:pt idx="694">
                  <c:v>32.369999999999997</c:v>
                </c:pt>
                <c:pt idx="695">
                  <c:v>32.590000000000003</c:v>
                </c:pt>
                <c:pt idx="696">
                  <c:v>32.32</c:v>
                </c:pt>
                <c:pt idx="697">
                  <c:v>27.48</c:v>
                </c:pt>
                <c:pt idx="698">
                  <c:v>24.5</c:v>
                </c:pt>
                <c:pt idx="699">
                  <c:v>42.92</c:v>
                </c:pt>
                <c:pt idx="700">
                  <c:v>39.44</c:v>
                </c:pt>
                <c:pt idx="701">
                  <c:v>42.1</c:v>
                </c:pt>
                <c:pt idx="702">
                  <c:v>34.700000000000003</c:v>
                </c:pt>
                <c:pt idx="703">
                  <c:v>43.83</c:v>
                </c:pt>
                <c:pt idx="704">
                  <c:v>33.549999999999997</c:v>
                </c:pt>
                <c:pt idx="705">
                  <c:v>26.42</c:v>
                </c:pt>
                <c:pt idx="706">
                  <c:v>38.020000000000003</c:v>
                </c:pt>
                <c:pt idx="707">
                  <c:v>38.270000000000003</c:v>
                </c:pt>
                <c:pt idx="708">
                  <c:v>44.75</c:v>
                </c:pt>
                <c:pt idx="709">
                  <c:v>41.28</c:v>
                </c:pt>
                <c:pt idx="710">
                  <c:v>40.630000000000003</c:v>
                </c:pt>
                <c:pt idx="711">
                  <c:v>37.520000000000003</c:v>
                </c:pt>
                <c:pt idx="712">
                  <c:v>33.659999999999997</c:v>
                </c:pt>
                <c:pt idx="713">
                  <c:v>48.43</c:v>
                </c:pt>
                <c:pt idx="714">
                  <c:v>56.39</c:v>
                </c:pt>
                <c:pt idx="715">
                  <c:v>59.71</c:v>
                </c:pt>
                <c:pt idx="716">
                  <c:v>49.11</c:v>
                </c:pt>
                <c:pt idx="717">
                  <c:v>42.81</c:v>
                </c:pt>
                <c:pt idx="718">
                  <c:v>41.82</c:v>
                </c:pt>
                <c:pt idx="719">
                  <c:v>34.520000000000003</c:v>
                </c:pt>
                <c:pt idx="720">
                  <c:v>38.369999999999997</c:v>
                </c:pt>
                <c:pt idx="721">
                  <c:v>40.44</c:v>
                </c:pt>
                <c:pt idx="722">
                  <c:v>39.57</c:v>
                </c:pt>
                <c:pt idx="723">
                  <c:v>34.17</c:v>
                </c:pt>
                <c:pt idx="724">
                  <c:v>7.21</c:v>
                </c:pt>
                <c:pt idx="725">
                  <c:v>-35.57</c:v>
                </c:pt>
                <c:pt idx="726">
                  <c:v>26.01</c:v>
                </c:pt>
                <c:pt idx="727">
                  <c:v>36.01</c:v>
                </c:pt>
                <c:pt idx="728">
                  <c:v>34.56</c:v>
                </c:pt>
                <c:pt idx="729">
                  <c:v>31.55</c:v>
                </c:pt>
                <c:pt idx="730">
                  <c:v>27.26</c:v>
                </c:pt>
                <c:pt idx="731">
                  <c:v>21.05</c:v>
                </c:pt>
                <c:pt idx="732">
                  <c:v>37.549999999999997</c:v>
                </c:pt>
                <c:pt idx="733">
                  <c:v>33.85</c:v>
                </c:pt>
                <c:pt idx="734">
                  <c:v>40.020000000000003</c:v>
                </c:pt>
                <c:pt idx="735">
                  <c:v>43.71</c:v>
                </c:pt>
                <c:pt idx="736">
                  <c:v>44.42</c:v>
                </c:pt>
                <c:pt idx="737">
                  <c:v>50.59</c:v>
                </c:pt>
                <c:pt idx="738">
                  <c:v>46.37</c:v>
                </c:pt>
                <c:pt idx="739">
                  <c:v>36.909999999999997</c:v>
                </c:pt>
                <c:pt idx="740">
                  <c:v>32.700000000000003</c:v>
                </c:pt>
                <c:pt idx="741">
                  <c:v>45.31</c:v>
                </c:pt>
                <c:pt idx="742">
                  <c:v>53.26</c:v>
                </c:pt>
                <c:pt idx="743">
                  <c:v>44.14</c:v>
                </c:pt>
                <c:pt idx="744">
                  <c:v>47.75</c:v>
                </c:pt>
                <c:pt idx="745">
                  <c:v>49.9</c:v>
                </c:pt>
                <c:pt idx="746">
                  <c:v>36.83</c:v>
                </c:pt>
                <c:pt idx="747">
                  <c:v>31.74</c:v>
                </c:pt>
                <c:pt idx="748">
                  <c:v>46.98</c:v>
                </c:pt>
                <c:pt idx="749">
                  <c:v>45.97</c:v>
                </c:pt>
                <c:pt idx="750">
                  <c:v>43.89</c:v>
                </c:pt>
                <c:pt idx="751">
                  <c:v>45.54</c:v>
                </c:pt>
                <c:pt idx="752">
                  <c:v>43.53</c:v>
                </c:pt>
                <c:pt idx="753">
                  <c:v>40.479999999999997</c:v>
                </c:pt>
                <c:pt idx="754">
                  <c:v>36.200000000000003</c:v>
                </c:pt>
                <c:pt idx="755">
                  <c:v>48.08</c:v>
                </c:pt>
                <c:pt idx="756">
                  <c:v>54.07</c:v>
                </c:pt>
                <c:pt idx="757">
                  <c:v>45.9</c:v>
                </c:pt>
                <c:pt idx="758">
                  <c:v>41.09</c:v>
                </c:pt>
                <c:pt idx="759">
                  <c:v>49.18</c:v>
                </c:pt>
                <c:pt idx="760">
                  <c:v>35.89</c:v>
                </c:pt>
                <c:pt idx="761">
                  <c:v>35.49</c:v>
                </c:pt>
                <c:pt idx="762">
                  <c:v>45.58</c:v>
                </c:pt>
                <c:pt idx="763">
                  <c:v>40.75</c:v>
                </c:pt>
                <c:pt idx="764">
                  <c:v>43.61</c:v>
                </c:pt>
                <c:pt idx="765">
                  <c:v>47.99</c:v>
                </c:pt>
                <c:pt idx="766">
                  <c:v>41.63</c:v>
                </c:pt>
                <c:pt idx="767">
                  <c:v>41.58</c:v>
                </c:pt>
                <c:pt idx="768">
                  <c:v>37.82</c:v>
                </c:pt>
                <c:pt idx="769">
                  <c:v>51.61</c:v>
                </c:pt>
                <c:pt idx="770">
                  <c:v>51.34</c:v>
                </c:pt>
                <c:pt idx="771">
                  <c:v>51.4</c:v>
                </c:pt>
                <c:pt idx="772">
                  <c:v>47.66</c:v>
                </c:pt>
                <c:pt idx="773">
                  <c:v>46.12</c:v>
                </c:pt>
                <c:pt idx="774">
                  <c:v>41.39</c:v>
                </c:pt>
                <c:pt idx="775">
                  <c:v>40.56</c:v>
                </c:pt>
                <c:pt idx="776">
                  <c:v>51.07</c:v>
                </c:pt>
                <c:pt idx="777">
                  <c:v>49.71</c:v>
                </c:pt>
                <c:pt idx="778">
                  <c:v>49.27</c:v>
                </c:pt>
                <c:pt idx="779">
                  <c:v>46.71</c:v>
                </c:pt>
                <c:pt idx="780">
                  <c:v>41.57</c:v>
                </c:pt>
                <c:pt idx="781">
                  <c:v>32.64</c:v>
                </c:pt>
                <c:pt idx="782">
                  <c:v>33.01</c:v>
                </c:pt>
                <c:pt idx="783">
                  <c:v>37.93</c:v>
                </c:pt>
                <c:pt idx="784">
                  <c:v>40.869999999999997</c:v>
                </c:pt>
                <c:pt idx="785">
                  <c:v>38.19</c:v>
                </c:pt>
                <c:pt idx="786">
                  <c:v>35.64</c:v>
                </c:pt>
                <c:pt idx="787">
                  <c:v>37.590000000000003</c:v>
                </c:pt>
                <c:pt idx="788">
                  <c:v>28.43</c:v>
                </c:pt>
                <c:pt idx="789">
                  <c:v>16.690000000000001</c:v>
                </c:pt>
                <c:pt idx="790">
                  <c:v>32.83</c:v>
                </c:pt>
                <c:pt idx="791">
                  <c:v>41.57</c:v>
                </c:pt>
                <c:pt idx="792">
                  <c:v>38.57</c:v>
                </c:pt>
                <c:pt idx="793">
                  <c:v>42.67</c:v>
                </c:pt>
                <c:pt idx="794">
                  <c:v>41.56</c:v>
                </c:pt>
                <c:pt idx="795">
                  <c:v>36.119999999999997</c:v>
                </c:pt>
                <c:pt idx="796">
                  <c:v>36.58</c:v>
                </c:pt>
                <c:pt idx="797">
                  <c:v>52.03</c:v>
                </c:pt>
                <c:pt idx="798">
                  <c:v>54</c:v>
                </c:pt>
                <c:pt idx="799">
                  <c:v>50.99</c:v>
                </c:pt>
                <c:pt idx="800">
                  <c:v>51.01</c:v>
                </c:pt>
                <c:pt idx="801">
                  <c:v>43.19</c:v>
                </c:pt>
                <c:pt idx="802">
                  <c:v>37.67</c:v>
                </c:pt>
                <c:pt idx="803">
                  <c:v>32.78</c:v>
                </c:pt>
                <c:pt idx="804">
                  <c:v>45.41</c:v>
                </c:pt>
                <c:pt idx="805">
                  <c:v>48.64</c:v>
                </c:pt>
                <c:pt idx="806">
                  <c:v>40.74</c:v>
                </c:pt>
                <c:pt idx="807">
                  <c:v>41.27</c:v>
                </c:pt>
                <c:pt idx="808">
                  <c:v>35.67</c:v>
                </c:pt>
                <c:pt idx="809">
                  <c:v>34.5</c:v>
                </c:pt>
                <c:pt idx="810">
                  <c:v>28.61</c:v>
                </c:pt>
                <c:pt idx="811">
                  <c:v>43.89</c:v>
                </c:pt>
                <c:pt idx="812">
                  <c:v>37.26</c:v>
                </c:pt>
                <c:pt idx="813">
                  <c:v>36.07</c:v>
                </c:pt>
                <c:pt idx="814">
                  <c:v>35.380000000000003</c:v>
                </c:pt>
                <c:pt idx="815">
                  <c:v>37.32</c:v>
                </c:pt>
                <c:pt idx="816">
                  <c:v>29.55</c:v>
                </c:pt>
                <c:pt idx="817">
                  <c:v>20.14</c:v>
                </c:pt>
                <c:pt idx="818">
                  <c:v>35.92</c:v>
                </c:pt>
                <c:pt idx="819">
                  <c:v>36.9</c:v>
                </c:pt>
                <c:pt idx="820">
                  <c:v>36.17</c:v>
                </c:pt>
                <c:pt idx="821">
                  <c:v>38.799999999999997</c:v>
                </c:pt>
                <c:pt idx="822">
                  <c:v>39.18</c:v>
                </c:pt>
                <c:pt idx="823">
                  <c:v>37</c:v>
                </c:pt>
                <c:pt idx="824">
                  <c:v>29.3</c:v>
                </c:pt>
                <c:pt idx="825">
                  <c:v>30.44</c:v>
                </c:pt>
                <c:pt idx="826">
                  <c:v>49.87</c:v>
                </c:pt>
                <c:pt idx="827">
                  <c:v>43.86</c:v>
                </c:pt>
                <c:pt idx="828">
                  <c:v>43.43</c:v>
                </c:pt>
                <c:pt idx="829">
                  <c:v>43.32</c:v>
                </c:pt>
                <c:pt idx="830">
                  <c:v>35.32</c:v>
                </c:pt>
                <c:pt idx="831">
                  <c:v>29.11</c:v>
                </c:pt>
                <c:pt idx="832">
                  <c:v>41.76</c:v>
                </c:pt>
                <c:pt idx="833">
                  <c:v>45.93</c:v>
                </c:pt>
                <c:pt idx="834">
                  <c:v>46.22</c:v>
                </c:pt>
                <c:pt idx="835">
                  <c:v>48.34</c:v>
                </c:pt>
                <c:pt idx="836">
                  <c:v>41.61</c:v>
                </c:pt>
                <c:pt idx="837">
                  <c:v>40.4</c:v>
                </c:pt>
                <c:pt idx="838">
                  <c:v>36.96</c:v>
                </c:pt>
                <c:pt idx="839">
                  <c:v>45.06</c:v>
                </c:pt>
                <c:pt idx="840">
                  <c:v>42.62</c:v>
                </c:pt>
                <c:pt idx="841">
                  <c:v>40.42</c:v>
                </c:pt>
                <c:pt idx="842">
                  <c:v>42.14</c:v>
                </c:pt>
                <c:pt idx="843">
                  <c:v>44.48</c:v>
                </c:pt>
                <c:pt idx="844">
                  <c:v>37.450000000000003</c:v>
                </c:pt>
                <c:pt idx="845">
                  <c:v>21.71</c:v>
                </c:pt>
                <c:pt idx="846">
                  <c:v>40.17</c:v>
                </c:pt>
                <c:pt idx="847">
                  <c:v>41.62</c:v>
                </c:pt>
                <c:pt idx="848">
                  <c:v>43.98</c:v>
                </c:pt>
                <c:pt idx="849">
                  <c:v>41.14</c:v>
                </c:pt>
                <c:pt idx="850">
                  <c:v>39.619999999999997</c:v>
                </c:pt>
                <c:pt idx="851">
                  <c:v>27.62</c:v>
                </c:pt>
                <c:pt idx="852">
                  <c:v>32.33</c:v>
                </c:pt>
                <c:pt idx="853">
                  <c:v>45.49</c:v>
                </c:pt>
                <c:pt idx="854">
                  <c:v>44.52</c:v>
                </c:pt>
                <c:pt idx="855">
                  <c:v>46.45</c:v>
                </c:pt>
                <c:pt idx="856">
                  <c:v>46.31</c:v>
                </c:pt>
                <c:pt idx="857">
                  <c:v>48.89</c:v>
                </c:pt>
                <c:pt idx="858">
                  <c:v>43.22</c:v>
                </c:pt>
                <c:pt idx="859">
                  <c:v>39.64</c:v>
                </c:pt>
                <c:pt idx="860">
                  <c:v>50.28</c:v>
                </c:pt>
                <c:pt idx="861">
                  <c:v>50.96</c:v>
                </c:pt>
                <c:pt idx="862">
                  <c:v>48.93</c:v>
                </c:pt>
                <c:pt idx="863">
                  <c:v>44.8</c:v>
                </c:pt>
                <c:pt idx="864">
                  <c:v>47.44</c:v>
                </c:pt>
                <c:pt idx="865">
                  <c:v>41.83</c:v>
                </c:pt>
                <c:pt idx="866">
                  <c:v>15.94</c:v>
                </c:pt>
                <c:pt idx="867">
                  <c:v>46.07</c:v>
                </c:pt>
                <c:pt idx="868">
                  <c:v>47.61</c:v>
                </c:pt>
                <c:pt idx="869">
                  <c:v>46.27</c:v>
                </c:pt>
                <c:pt idx="870">
                  <c:v>48.52</c:v>
                </c:pt>
                <c:pt idx="871">
                  <c:v>48.27</c:v>
                </c:pt>
                <c:pt idx="872">
                  <c:v>36.909999999999997</c:v>
                </c:pt>
                <c:pt idx="873">
                  <c:v>23.58</c:v>
                </c:pt>
                <c:pt idx="874">
                  <c:v>30.63</c:v>
                </c:pt>
                <c:pt idx="875">
                  <c:v>43.6</c:v>
                </c:pt>
                <c:pt idx="876">
                  <c:v>48.75</c:v>
                </c:pt>
                <c:pt idx="877">
                  <c:v>46.21</c:v>
                </c:pt>
                <c:pt idx="878">
                  <c:v>43.94</c:v>
                </c:pt>
                <c:pt idx="879">
                  <c:v>34.880000000000003</c:v>
                </c:pt>
                <c:pt idx="880">
                  <c:v>17.75</c:v>
                </c:pt>
                <c:pt idx="881">
                  <c:v>38.76</c:v>
                </c:pt>
                <c:pt idx="882">
                  <c:v>38.619999999999997</c:v>
                </c:pt>
                <c:pt idx="883">
                  <c:v>42.75</c:v>
                </c:pt>
                <c:pt idx="884">
                  <c:v>36.42</c:v>
                </c:pt>
                <c:pt idx="885">
                  <c:v>44.38</c:v>
                </c:pt>
                <c:pt idx="886">
                  <c:v>39.299999999999997</c:v>
                </c:pt>
                <c:pt idx="887">
                  <c:v>31.67</c:v>
                </c:pt>
                <c:pt idx="888">
                  <c:v>41.03</c:v>
                </c:pt>
                <c:pt idx="889">
                  <c:v>53.702500000000001</c:v>
                </c:pt>
                <c:pt idx="890">
                  <c:v>47.423299999999998</c:v>
                </c:pt>
                <c:pt idx="891">
                  <c:v>48.24</c:v>
                </c:pt>
                <c:pt idx="892">
                  <c:v>47.68</c:v>
                </c:pt>
                <c:pt idx="893">
                  <c:v>32.93</c:v>
                </c:pt>
                <c:pt idx="894">
                  <c:v>25.43</c:v>
                </c:pt>
                <c:pt idx="895">
                  <c:v>43.6</c:v>
                </c:pt>
                <c:pt idx="896">
                  <c:v>45.57</c:v>
                </c:pt>
                <c:pt idx="897">
                  <c:v>46.59</c:v>
                </c:pt>
                <c:pt idx="898">
                  <c:v>48.97</c:v>
                </c:pt>
                <c:pt idx="899">
                  <c:v>45.94</c:v>
                </c:pt>
                <c:pt idx="900">
                  <c:v>40.64</c:v>
                </c:pt>
                <c:pt idx="901">
                  <c:v>29.1</c:v>
                </c:pt>
                <c:pt idx="902">
                  <c:v>45.32</c:v>
                </c:pt>
                <c:pt idx="903">
                  <c:v>48.16</c:v>
                </c:pt>
                <c:pt idx="904">
                  <c:v>48.78</c:v>
                </c:pt>
                <c:pt idx="905">
                  <c:v>53.21</c:v>
                </c:pt>
                <c:pt idx="906">
                  <c:v>45.98</c:v>
                </c:pt>
                <c:pt idx="907">
                  <c:v>41.66</c:v>
                </c:pt>
                <c:pt idx="908">
                  <c:v>38.19</c:v>
                </c:pt>
                <c:pt idx="909">
                  <c:v>50.99</c:v>
                </c:pt>
                <c:pt idx="910">
                  <c:v>46.92</c:v>
                </c:pt>
                <c:pt idx="911">
                  <c:v>51.17</c:v>
                </c:pt>
                <c:pt idx="912">
                  <c:v>53.57</c:v>
                </c:pt>
                <c:pt idx="913">
                  <c:v>51.63</c:v>
                </c:pt>
                <c:pt idx="914">
                  <c:v>43.16</c:v>
                </c:pt>
                <c:pt idx="915">
                  <c:v>36.68</c:v>
                </c:pt>
                <c:pt idx="916">
                  <c:v>50.41</c:v>
                </c:pt>
                <c:pt idx="917">
                  <c:v>47.21</c:v>
                </c:pt>
                <c:pt idx="918">
                  <c:v>49.34</c:v>
                </c:pt>
                <c:pt idx="919">
                  <c:v>52.23</c:v>
                </c:pt>
                <c:pt idx="920">
                  <c:v>54.19</c:v>
                </c:pt>
                <c:pt idx="921">
                  <c:v>46.82</c:v>
                </c:pt>
                <c:pt idx="922">
                  <c:v>38.74</c:v>
                </c:pt>
                <c:pt idx="923">
                  <c:v>52.65</c:v>
                </c:pt>
                <c:pt idx="924">
                  <c:v>53.29</c:v>
                </c:pt>
                <c:pt idx="925">
                  <c:v>50.96</c:v>
                </c:pt>
                <c:pt idx="926">
                  <c:v>49.09</c:v>
                </c:pt>
                <c:pt idx="927">
                  <c:v>48.99</c:v>
                </c:pt>
                <c:pt idx="928">
                  <c:v>45.07</c:v>
                </c:pt>
                <c:pt idx="929">
                  <c:v>34.97</c:v>
                </c:pt>
                <c:pt idx="930">
                  <c:v>48.22</c:v>
                </c:pt>
                <c:pt idx="931">
                  <c:v>50.13</c:v>
                </c:pt>
                <c:pt idx="932">
                  <c:v>48.81</c:v>
                </c:pt>
                <c:pt idx="933">
                  <c:v>48.92</c:v>
                </c:pt>
                <c:pt idx="934">
                  <c:v>46.94</c:v>
                </c:pt>
                <c:pt idx="935">
                  <c:v>40.270000000000003</c:v>
                </c:pt>
                <c:pt idx="936">
                  <c:v>24.79</c:v>
                </c:pt>
                <c:pt idx="937">
                  <c:v>45.11</c:v>
                </c:pt>
                <c:pt idx="938">
                  <c:v>45.26</c:v>
                </c:pt>
                <c:pt idx="939">
                  <c:v>42.88</c:v>
                </c:pt>
                <c:pt idx="940">
                  <c:v>44.05</c:v>
                </c:pt>
                <c:pt idx="941">
                  <c:v>39.270000000000003</c:v>
                </c:pt>
                <c:pt idx="942">
                  <c:v>37.11</c:v>
                </c:pt>
                <c:pt idx="943">
                  <c:v>27.76</c:v>
                </c:pt>
                <c:pt idx="944">
                  <c:v>40.75</c:v>
                </c:pt>
                <c:pt idx="945">
                  <c:v>41.38</c:v>
                </c:pt>
                <c:pt idx="946">
                  <c:v>39.21</c:v>
                </c:pt>
                <c:pt idx="947">
                  <c:v>38.507899999999999</c:v>
                </c:pt>
                <c:pt idx="948">
                  <c:v>40.56</c:v>
                </c:pt>
                <c:pt idx="949">
                  <c:v>32.65</c:v>
                </c:pt>
                <c:pt idx="950">
                  <c:v>25.97</c:v>
                </c:pt>
                <c:pt idx="951">
                  <c:v>40.25</c:v>
                </c:pt>
                <c:pt idx="952">
                  <c:v>42.91</c:v>
                </c:pt>
                <c:pt idx="953">
                  <c:v>42.53</c:v>
                </c:pt>
                <c:pt idx="954">
                  <c:v>43.97</c:v>
                </c:pt>
                <c:pt idx="955">
                  <c:v>44.77</c:v>
                </c:pt>
                <c:pt idx="956">
                  <c:v>40.5</c:v>
                </c:pt>
                <c:pt idx="957">
                  <c:v>29.01</c:v>
                </c:pt>
                <c:pt idx="958">
                  <c:v>41.38</c:v>
                </c:pt>
                <c:pt idx="959">
                  <c:v>41.35</c:v>
                </c:pt>
                <c:pt idx="960">
                  <c:v>39.57</c:v>
                </c:pt>
                <c:pt idx="961">
                  <c:v>41.04</c:v>
                </c:pt>
                <c:pt idx="962">
                  <c:v>44.81</c:v>
                </c:pt>
                <c:pt idx="963">
                  <c:v>37.44</c:v>
                </c:pt>
                <c:pt idx="964">
                  <c:v>29.87</c:v>
                </c:pt>
                <c:pt idx="965">
                  <c:v>44.59</c:v>
                </c:pt>
                <c:pt idx="966">
                  <c:v>38.86</c:v>
                </c:pt>
                <c:pt idx="967">
                  <c:v>41.34</c:v>
                </c:pt>
                <c:pt idx="968">
                  <c:v>49.1</c:v>
                </c:pt>
                <c:pt idx="969">
                  <c:v>52.34</c:v>
                </c:pt>
                <c:pt idx="970">
                  <c:v>43.54</c:v>
                </c:pt>
                <c:pt idx="971">
                  <c:v>27.79</c:v>
                </c:pt>
                <c:pt idx="972">
                  <c:v>42.2</c:v>
                </c:pt>
                <c:pt idx="973">
                  <c:v>47.78</c:v>
                </c:pt>
                <c:pt idx="974">
                  <c:v>44.82</c:v>
                </c:pt>
                <c:pt idx="975">
                  <c:v>47.05</c:v>
                </c:pt>
                <c:pt idx="976">
                  <c:v>48.04</c:v>
                </c:pt>
                <c:pt idx="977">
                  <c:v>45.36</c:v>
                </c:pt>
                <c:pt idx="978">
                  <c:v>39.75</c:v>
                </c:pt>
                <c:pt idx="979">
                  <c:v>43.41</c:v>
                </c:pt>
                <c:pt idx="980">
                  <c:v>39.39</c:v>
                </c:pt>
                <c:pt idx="981">
                  <c:v>42</c:v>
                </c:pt>
                <c:pt idx="982">
                  <c:v>43.99</c:v>
                </c:pt>
                <c:pt idx="983">
                  <c:v>48.43</c:v>
                </c:pt>
                <c:pt idx="984">
                  <c:v>40.31</c:v>
                </c:pt>
                <c:pt idx="985">
                  <c:v>33.909999999999997</c:v>
                </c:pt>
                <c:pt idx="986">
                  <c:v>50.86</c:v>
                </c:pt>
                <c:pt idx="987">
                  <c:v>45.74</c:v>
                </c:pt>
                <c:pt idx="988">
                  <c:v>43.89</c:v>
                </c:pt>
                <c:pt idx="989">
                  <c:v>46.27</c:v>
                </c:pt>
                <c:pt idx="990">
                  <c:v>44.77</c:v>
                </c:pt>
                <c:pt idx="991">
                  <c:v>41.73</c:v>
                </c:pt>
                <c:pt idx="992">
                  <c:v>33.86</c:v>
                </c:pt>
                <c:pt idx="993">
                  <c:v>42.19</c:v>
                </c:pt>
                <c:pt idx="994">
                  <c:v>48.35</c:v>
                </c:pt>
                <c:pt idx="995">
                  <c:v>50.6</c:v>
                </c:pt>
                <c:pt idx="996">
                  <c:v>50.78</c:v>
                </c:pt>
                <c:pt idx="997">
                  <c:v>47.92</c:v>
                </c:pt>
                <c:pt idx="998">
                  <c:v>45.09</c:v>
                </c:pt>
                <c:pt idx="999">
                  <c:v>45.71</c:v>
                </c:pt>
                <c:pt idx="1000">
                  <c:v>54.6</c:v>
                </c:pt>
                <c:pt idx="1001">
                  <c:v>53.47</c:v>
                </c:pt>
                <c:pt idx="1002">
                  <c:v>56.27</c:v>
                </c:pt>
                <c:pt idx="1003">
                  <c:v>57.25</c:v>
                </c:pt>
                <c:pt idx="1004">
                  <c:v>55.24</c:v>
                </c:pt>
                <c:pt idx="1005">
                  <c:v>44.85</c:v>
                </c:pt>
                <c:pt idx="1006">
                  <c:v>42.07</c:v>
                </c:pt>
                <c:pt idx="1007">
                  <c:v>43.38</c:v>
                </c:pt>
                <c:pt idx="1008">
                  <c:v>52.08</c:v>
                </c:pt>
                <c:pt idx="1009">
                  <c:v>50.02</c:v>
                </c:pt>
                <c:pt idx="1010">
                  <c:v>54.81</c:v>
                </c:pt>
                <c:pt idx="1011">
                  <c:v>48.38</c:v>
                </c:pt>
                <c:pt idx="1012">
                  <c:v>45.14</c:v>
                </c:pt>
                <c:pt idx="1013">
                  <c:v>40.18</c:v>
                </c:pt>
                <c:pt idx="1014">
                  <c:v>53.13</c:v>
                </c:pt>
                <c:pt idx="1015">
                  <c:v>56.17</c:v>
                </c:pt>
                <c:pt idx="1016">
                  <c:v>55.68</c:v>
                </c:pt>
                <c:pt idx="1017">
                  <c:v>56.39</c:v>
                </c:pt>
                <c:pt idx="1018">
                  <c:v>59.66</c:v>
                </c:pt>
                <c:pt idx="1019">
                  <c:v>48.96</c:v>
                </c:pt>
                <c:pt idx="1020">
                  <c:v>47.66</c:v>
                </c:pt>
                <c:pt idx="1021">
                  <c:v>58.08</c:v>
                </c:pt>
                <c:pt idx="1022">
                  <c:v>55.5</c:v>
                </c:pt>
                <c:pt idx="1023">
                  <c:v>53.59</c:v>
                </c:pt>
                <c:pt idx="1024">
                  <c:v>53.31</c:v>
                </c:pt>
                <c:pt idx="1025">
                  <c:v>53.97</c:v>
                </c:pt>
                <c:pt idx="1026">
                  <c:v>46.61</c:v>
                </c:pt>
                <c:pt idx="1027">
                  <c:v>33.245399999999997</c:v>
                </c:pt>
                <c:pt idx="1028">
                  <c:v>54.588700000000003</c:v>
                </c:pt>
                <c:pt idx="1029">
                  <c:v>55.255400000000002</c:v>
                </c:pt>
                <c:pt idx="1030">
                  <c:v>51.953699999999998</c:v>
                </c:pt>
                <c:pt idx="1031">
                  <c:v>52.393700000000003</c:v>
                </c:pt>
                <c:pt idx="1032">
                  <c:v>50.615000000000002</c:v>
                </c:pt>
                <c:pt idx="1033">
                  <c:v>42.761600000000001</c:v>
                </c:pt>
                <c:pt idx="1034">
                  <c:v>43.671599999999998</c:v>
                </c:pt>
                <c:pt idx="1035">
                  <c:v>48.28</c:v>
                </c:pt>
                <c:pt idx="1036">
                  <c:v>48.04</c:v>
                </c:pt>
                <c:pt idx="1037">
                  <c:v>44.758299999999998</c:v>
                </c:pt>
                <c:pt idx="1038">
                  <c:v>45.357500000000002</c:v>
                </c:pt>
                <c:pt idx="1039">
                  <c:v>44.497900000000001</c:v>
                </c:pt>
                <c:pt idx="1040">
                  <c:v>45.045400000000001</c:v>
                </c:pt>
                <c:pt idx="1041">
                  <c:v>44.7087</c:v>
                </c:pt>
                <c:pt idx="1042">
                  <c:v>54.403300000000002</c:v>
                </c:pt>
                <c:pt idx="1043">
                  <c:v>49.281999999999996</c:v>
                </c:pt>
                <c:pt idx="1044">
                  <c:v>51.214100000000002</c:v>
                </c:pt>
                <c:pt idx="1045">
                  <c:v>41.803699999999999</c:v>
                </c:pt>
                <c:pt idx="1046">
                  <c:v>37.744999999999997</c:v>
                </c:pt>
                <c:pt idx="1047">
                  <c:v>35.541600000000003</c:v>
                </c:pt>
                <c:pt idx="1048">
                  <c:v>26.878299999999999</c:v>
                </c:pt>
                <c:pt idx="1049">
                  <c:v>47.5687</c:v>
                </c:pt>
                <c:pt idx="1050">
                  <c:v>52.122</c:v>
                </c:pt>
                <c:pt idx="1051">
                  <c:v>53.1616</c:v>
                </c:pt>
                <c:pt idx="1052">
                  <c:v>53.367899999999999</c:v>
                </c:pt>
                <c:pt idx="1053">
                  <c:v>53.577500000000001</c:v>
                </c:pt>
                <c:pt idx="1054">
                  <c:v>47.192500000000003</c:v>
                </c:pt>
                <c:pt idx="1055">
                  <c:v>42.518700000000003</c:v>
                </c:pt>
                <c:pt idx="1056">
                  <c:v>50.486199999999997</c:v>
                </c:pt>
                <c:pt idx="1057">
                  <c:v>51.872500000000002</c:v>
                </c:pt>
                <c:pt idx="1058">
                  <c:v>55.545000000000002</c:v>
                </c:pt>
                <c:pt idx="1059">
                  <c:v>60.944499999999998</c:v>
                </c:pt>
                <c:pt idx="1060">
                  <c:v>60.017899999999997</c:v>
                </c:pt>
                <c:pt idx="1061">
                  <c:v>48.865400000000001</c:v>
                </c:pt>
                <c:pt idx="1062">
                  <c:v>45.668700000000001</c:v>
                </c:pt>
                <c:pt idx="1063">
                  <c:v>56.422899999999998</c:v>
                </c:pt>
                <c:pt idx="1064">
                  <c:v>58.98</c:v>
                </c:pt>
                <c:pt idx="1065">
                  <c:v>51.688299999999998</c:v>
                </c:pt>
                <c:pt idx="1066">
                  <c:v>63.918300000000002</c:v>
                </c:pt>
                <c:pt idx="1067">
                  <c:v>70.939499999999995</c:v>
                </c:pt>
                <c:pt idx="1068">
                  <c:v>50.759099999999997</c:v>
                </c:pt>
                <c:pt idx="1069">
                  <c:v>47.576599999999999</c:v>
                </c:pt>
                <c:pt idx="1070">
                  <c:v>70.150000000000006</c:v>
                </c:pt>
                <c:pt idx="1071">
                  <c:v>69.47</c:v>
                </c:pt>
                <c:pt idx="1072">
                  <c:v>59.377499999999998</c:v>
                </c:pt>
                <c:pt idx="1073">
                  <c:v>51.679499999999997</c:v>
                </c:pt>
                <c:pt idx="1074">
                  <c:v>58.04</c:v>
                </c:pt>
                <c:pt idx="1075">
                  <c:v>31.116599999999998</c:v>
                </c:pt>
                <c:pt idx="1076">
                  <c:v>33.31</c:v>
                </c:pt>
                <c:pt idx="1077">
                  <c:v>63.671599999999998</c:v>
                </c:pt>
                <c:pt idx="1078">
                  <c:v>67.0625</c:v>
                </c:pt>
                <c:pt idx="1079">
                  <c:v>72.063699999999997</c:v>
                </c:pt>
                <c:pt idx="1080">
                  <c:v>61.006999999999998</c:v>
                </c:pt>
                <c:pt idx="1081">
                  <c:v>66.95</c:v>
                </c:pt>
                <c:pt idx="1082">
                  <c:v>59.027000000000001</c:v>
                </c:pt>
                <c:pt idx="1083">
                  <c:v>47.372500000000002</c:v>
                </c:pt>
                <c:pt idx="1084">
                  <c:v>65.052899999999994</c:v>
                </c:pt>
                <c:pt idx="1085">
                  <c:v>66.6858</c:v>
                </c:pt>
                <c:pt idx="1086">
                  <c:v>56.632899999999999</c:v>
                </c:pt>
                <c:pt idx="1087">
                  <c:v>52.8</c:v>
                </c:pt>
                <c:pt idx="1088">
                  <c:v>36.508699999999997</c:v>
                </c:pt>
                <c:pt idx="1089">
                  <c:v>37.372900000000001</c:v>
                </c:pt>
                <c:pt idx="1090">
                  <c:v>46.1312</c:v>
                </c:pt>
                <c:pt idx="1091">
                  <c:v>56.453299999999999</c:v>
                </c:pt>
                <c:pt idx="1092">
                  <c:v>55.510800000000003</c:v>
                </c:pt>
                <c:pt idx="1093">
                  <c:v>55.472499999999997</c:v>
                </c:pt>
                <c:pt idx="1094">
                  <c:v>52.514499999999998</c:v>
                </c:pt>
                <c:pt idx="1095">
                  <c:v>45.62</c:v>
                </c:pt>
                <c:pt idx="1096">
                  <c:v>20.781199999999998</c:v>
                </c:pt>
                <c:pt idx="1097">
                  <c:v>43.161200000000001</c:v>
                </c:pt>
                <c:pt idx="1098">
                  <c:v>59.859499999999997</c:v>
                </c:pt>
                <c:pt idx="1099">
                  <c:v>57.637900000000002</c:v>
                </c:pt>
                <c:pt idx="1100">
                  <c:v>55.08</c:v>
                </c:pt>
                <c:pt idx="1101">
                  <c:v>47.281999999999996</c:v>
                </c:pt>
                <c:pt idx="1102">
                  <c:v>52.230800000000002</c:v>
                </c:pt>
                <c:pt idx="1103">
                  <c:v>35.211199999999998</c:v>
                </c:pt>
                <c:pt idx="1104">
                  <c:v>35.8904</c:v>
                </c:pt>
                <c:pt idx="1105">
                  <c:v>48.9</c:v>
                </c:pt>
                <c:pt idx="1106">
                  <c:v>56.771999999999998</c:v>
                </c:pt>
                <c:pt idx="1107">
                  <c:v>49.48</c:v>
                </c:pt>
                <c:pt idx="1108">
                  <c:v>47.51</c:v>
                </c:pt>
                <c:pt idx="1109">
                  <c:v>45.59</c:v>
                </c:pt>
                <c:pt idx="1110">
                  <c:v>41.3</c:v>
                </c:pt>
                <c:pt idx="1111">
                  <c:v>32.65</c:v>
                </c:pt>
                <c:pt idx="1112">
                  <c:v>48.19</c:v>
                </c:pt>
                <c:pt idx="1113">
                  <c:v>52.94</c:v>
                </c:pt>
                <c:pt idx="1114">
                  <c:v>57.14</c:v>
                </c:pt>
                <c:pt idx="1115">
                  <c:v>56.6</c:v>
                </c:pt>
                <c:pt idx="1116">
                  <c:v>57.29</c:v>
                </c:pt>
                <c:pt idx="1117">
                  <c:v>53.84</c:v>
                </c:pt>
                <c:pt idx="1118">
                  <c:v>48.05</c:v>
                </c:pt>
                <c:pt idx="1119">
                  <c:v>58.17</c:v>
                </c:pt>
                <c:pt idx="1120">
                  <c:v>53.98</c:v>
                </c:pt>
                <c:pt idx="1121">
                  <c:v>58.99</c:v>
                </c:pt>
                <c:pt idx="1122">
                  <c:v>58.27</c:v>
                </c:pt>
                <c:pt idx="1123">
                  <c:v>57.58</c:v>
                </c:pt>
                <c:pt idx="1124">
                  <c:v>51.99</c:v>
                </c:pt>
                <c:pt idx="1125">
                  <c:v>49.83</c:v>
                </c:pt>
                <c:pt idx="1126">
                  <c:v>61.76</c:v>
                </c:pt>
                <c:pt idx="1127">
                  <c:v>58.82</c:v>
                </c:pt>
                <c:pt idx="1128">
                  <c:v>55.55</c:v>
                </c:pt>
                <c:pt idx="1129">
                  <c:v>51.43</c:v>
                </c:pt>
                <c:pt idx="1130">
                  <c:v>34.06</c:v>
                </c:pt>
                <c:pt idx="1131">
                  <c:v>23.06</c:v>
                </c:pt>
                <c:pt idx="1132">
                  <c:v>33.83</c:v>
                </c:pt>
                <c:pt idx="1133">
                  <c:v>42.03</c:v>
                </c:pt>
                <c:pt idx="1134">
                  <c:v>50.14</c:v>
                </c:pt>
                <c:pt idx="1135">
                  <c:v>55.32</c:v>
                </c:pt>
                <c:pt idx="1136">
                  <c:v>54.05</c:v>
                </c:pt>
                <c:pt idx="1137">
                  <c:v>53.69</c:v>
                </c:pt>
                <c:pt idx="1138">
                  <c:v>49.74</c:v>
                </c:pt>
                <c:pt idx="1139">
                  <c:v>42.02</c:v>
                </c:pt>
                <c:pt idx="1140">
                  <c:v>47.25</c:v>
                </c:pt>
                <c:pt idx="1141">
                  <c:v>55.33</c:v>
                </c:pt>
                <c:pt idx="1142">
                  <c:v>54.76</c:v>
                </c:pt>
                <c:pt idx="1143">
                  <c:v>56.58</c:v>
                </c:pt>
                <c:pt idx="1144">
                  <c:v>57.42</c:v>
                </c:pt>
                <c:pt idx="1145">
                  <c:v>50</c:v>
                </c:pt>
                <c:pt idx="1146">
                  <c:v>46.42</c:v>
                </c:pt>
                <c:pt idx="1147">
                  <c:v>58.71</c:v>
                </c:pt>
                <c:pt idx="1148">
                  <c:v>58.77</c:v>
                </c:pt>
                <c:pt idx="1149">
                  <c:v>59.18</c:v>
                </c:pt>
                <c:pt idx="1150">
                  <c:v>58.31</c:v>
                </c:pt>
                <c:pt idx="1151">
                  <c:v>56.31</c:v>
                </c:pt>
                <c:pt idx="1152">
                  <c:v>50.87</c:v>
                </c:pt>
                <c:pt idx="1153">
                  <c:v>50.3</c:v>
                </c:pt>
                <c:pt idx="1154">
                  <c:v>60.15</c:v>
                </c:pt>
                <c:pt idx="1155">
                  <c:v>58.25</c:v>
                </c:pt>
                <c:pt idx="1156">
                  <c:v>55.93</c:v>
                </c:pt>
                <c:pt idx="1157">
                  <c:v>59.12</c:v>
                </c:pt>
                <c:pt idx="1158">
                  <c:v>59.81</c:v>
                </c:pt>
                <c:pt idx="1159">
                  <c:v>48.41</c:v>
                </c:pt>
                <c:pt idx="1160">
                  <c:v>46.67</c:v>
                </c:pt>
                <c:pt idx="1161">
                  <c:v>56.58</c:v>
                </c:pt>
                <c:pt idx="1162">
                  <c:v>53.02</c:v>
                </c:pt>
                <c:pt idx="1163">
                  <c:v>54.7</c:v>
                </c:pt>
                <c:pt idx="1164">
                  <c:v>50.29</c:v>
                </c:pt>
                <c:pt idx="1165">
                  <c:v>54.41</c:v>
                </c:pt>
                <c:pt idx="1166">
                  <c:v>53.3</c:v>
                </c:pt>
                <c:pt idx="1167">
                  <c:v>50.57</c:v>
                </c:pt>
                <c:pt idx="1168">
                  <c:v>59.21</c:v>
                </c:pt>
                <c:pt idx="1169">
                  <c:v>53.83</c:v>
                </c:pt>
                <c:pt idx="1170">
                  <c:v>52.99</c:v>
                </c:pt>
                <c:pt idx="1171">
                  <c:v>56.04</c:v>
                </c:pt>
                <c:pt idx="1172">
                  <c:v>60.28</c:v>
                </c:pt>
                <c:pt idx="1173">
                  <c:v>49.63</c:v>
                </c:pt>
                <c:pt idx="1174">
                  <c:v>47.48</c:v>
                </c:pt>
                <c:pt idx="1175">
                  <c:v>56.04</c:v>
                </c:pt>
                <c:pt idx="1176">
                  <c:v>55.69</c:v>
                </c:pt>
                <c:pt idx="1177">
                  <c:v>56.02</c:v>
                </c:pt>
                <c:pt idx="1178">
                  <c:v>55.03</c:v>
                </c:pt>
                <c:pt idx="1179">
                  <c:v>54.95</c:v>
                </c:pt>
                <c:pt idx="1180">
                  <c:v>54.92</c:v>
                </c:pt>
                <c:pt idx="1181">
                  <c:v>49.34</c:v>
                </c:pt>
                <c:pt idx="1182">
                  <c:v>57.52</c:v>
                </c:pt>
                <c:pt idx="1183">
                  <c:v>56.66</c:v>
                </c:pt>
                <c:pt idx="1184">
                  <c:v>58.27</c:v>
                </c:pt>
                <c:pt idx="1185">
                  <c:v>53.59</c:v>
                </c:pt>
                <c:pt idx="1186">
                  <c:v>54.69</c:v>
                </c:pt>
                <c:pt idx="1187">
                  <c:v>52.01</c:v>
                </c:pt>
                <c:pt idx="1188">
                  <c:v>46.38</c:v>
                </c:pt>
                <c:pt idx="1189">
                  <c:v>58.49</c:v>
                </c:pt>
                <c:pt idx="1190">
                  <c:v>55.21</c:v>
                </c:pt>
                <c:pt idx="1191">
                  <c:v>55.33</c:v>
                </c:pt>
                <c:pt idx="1192">
                  <c:v>55.22</c:v>
                </c:pt>
                <c:pt idx="1193">
                  <c:v>51.82</c:v>
                </c:pt>
                <c:pt idx="1194">
                  <c:v>43.84</c:v>
                </c:pt>
                <c:pt idx="1195">
                  <c:v>33.47</c:v>
                </c:pt>
                <c:pt idx="1196">
                  <c:v>56.57</c:v>
                </c:pt>
                <c:pt idx="1197">
                  <c:v>53.15</c:v>
                </c:pt>
                <c:pt idx="1198">
                  <c:v>55.96</c:v>
                </c:pt>
                <c:pt idx="1199">
                  <c:v>60.69</c:v>
                </c:pt>
                <c:pt idx="1200">
                  <c:v>58.61</c:v>
                </c:pt>
                <c:pt idx="1201">
                  <c:v>54.28</c:v>
                </c:pt>
                <c:pt idx="1202">
                  <c:v>49.7</c:v>
                </c:pt>
                <c:pt idx="1203">
                  <c:v>59.56</c:v>
                </c:pt>
                <c:pt idx="1204">
                  <c:v>56.46</c:v>
                </c:pt>
                <c:pt idx="1205">
                  <c:v>57.3</c:v>
                </c:pt>
                <c:pt idx="1206">
                  <c:v>56.87</c:v>
                </c:pt>
                <c:pt idx="1207">
                  <c:v>51.43</c:v>
                </c:pt>
                <c:pt idx="1208">
                  <c:v>47.27</c:v>
                </c:pt>
                <c:pt idx="1209">
                  <c:v>33.97</c:v>
                </c:pt>
                <c:pt idx="1210">
                  <c:v>27.95</c:v>
                </c:pt>
                <c:pt idx="1211">
                  <c:v>53</c:v>
                </c:pt>
                <c:pt idx="1212">
                  <c:v>56.23</c:v>
                </c:pt>
                <c:pt idx="1213">
                  <c:v>55.31</c:v>
                </c:pt>
                <c:pt idx="1214">
                  <c:v>52.63</c:v>
                </c:pt>
                <c:pt idx="1215">
                  <c:v>44</c:v>
                </c:pt>
                <c:pt idx="1216">
                  <c:v>31.27</c:v>
                </c:pt>
                <c:pt idx="1217">
                  <c:v>54.38</c:v>
                </c:pt>
                <c:pt idx="1218">
                  <c:v>61.21</c:v>
                </c:pt>
                <c:pt idx="1219">
                  <c:v>59.81</c:v>
                </c:pt>
                <c:pt idx="1220">
                  <c:v>62.3</c:v>
                </c:pt>
                <c:pt idx="1221">
                  <c:v>56.99</c:v>
                </c:pt>
                <c:pt idx="1222">
                  <c:v>51.91</c:v>
                </c:pt>
                <c:pt idx="1223">
                  <c:v>45.88</c:v>
                </c:pt>
                <c:pt idx="1224">
                  <c:v>60.57</c:v>
                </c:pt>
                <c:pt idx="1225">
                  <c:v>63.32</c:v>
                </c:pt>
                <c:pt idx="1226">
                  <c:v>65.12</c:v>
                </c:pt>
                <c:pt idx="1227">
                  <c:v>68.3</c:v>
                </c:pt>
                <c:pt idx="1228">
                  <c:v>60.08</c:v>
                </c:pt>
                <c:pt idx="1229">
                  <c:v>53.51</c:v>
                </c:pt>
                <c:pt idx="1230">
                  <c:v>49.77</c:v>
                </c:pt>
                <c:pt idx="1231">
                  <c:v>56.3</c:v>
                </c:pt>
                <c:pt idx="1232">
                  <c:v>62.35</c:v>
                </c:pt>
                <c:pt idx="1233">
                  <c:v>61.35</c:v>
                </c:pt>
                <c:pt idx="1234">
                  <c:v>62.15</c:v>
                </c:pt>
                <c:pt idx="1235">
                  <c:v>66.88</c:v>
                </c:pt>
                <c:pt idx="1236">
                  <c:v>53.69</c:v>
                </c:pt>
                <c:pt idx="1237">
                  <c:v>48.26</c:v>
                </c:pt>
                <c:pt idx="1238">
                  <c:v>61.47</c:v>
                </c:pt>
                <c:pt idx="1239">
                  <c:v>56.36</c:v>
                </c:pt>
                <c:pt idx="1240">
                  <c:v>63.02</c:v>
                </c:pt>
                <c:pt idx="1241">
                  <c:v>55.49</c:v>
                </c:pt>
                <c:pt idx="1242">
                  <c:v>57.77</c:v>
                </c:pt>
                <c:pt idx="1243">
                  <c:v>51.46</c:v>
                </c:pt>
                <c:pt idx="1244">
                  <c:v>42.91</c:v>
                </c:pt>
                <c:pt idx="1245">
                  <c:v>59.94</c:v>
                </c:pt>
                <c:pt idx="1246">
                  <c:v>57.97</c:v>
                </c:pt>
                <c:pt idx="1247">
                  <c:v>60.06</c:v>
                </c:pt>
                <c:pt idx="1248">
                  <c:v>50.91</c:v>
                </c:pt>
                <c:pt idx="1249">
                  <c:v>53.55</c:v>
                </c:pt>
                <c:pt idx="1250">
                  <c:v>50.74</c:v>
                </c:pt>
                <c:pt idx="1251">
                  <c:v>48.69</c:v>
                </c:pt>
                <c:pt idx="1252">
                  <c:v>60.4</c:v>
                </c:pt>
                <c:pt idx="1253">
                  <c:v>62.29</c:v>
                </c:pt>
                <c:pt idx="1254">
                  <c:v>60.91</c:v>
                </c:pt>
                <c:pt idx="1255">
                  <c:v>55.77</c:v>
                </c:pt>
                <c:pt idx="1256">
                  <c:v>58.87</c:v>
                </c:pt>
                <c:pt idx="1257">
                  <c:v>52.95</c:v>
                </c:pt>
                <c:pt idx="1258">
                  <c:v>50.37</c:v>
                </c:pt>
                <c:pt idx="1259">
                  <c:v>52.15</c:v>
                </c:pt>
                <c:pt idx="1260">
                  <c:v>59.89</c:v>
                </c:pt>
                <c:pt idx="1261">
                  <c:v>63.24</c:v>
                </c:pt>
                <c:pt idx="1262">
                  <c:v>59.51</c:v>
                </c:pt>
                <c:pt idx="1263">
                  <c:v>55.95</c:v>
                </c:pt>
                <c:pt idx="1264">
                  <c:v>50.36</c:v>
                </c:pt>
                <c:pt idx="1265">
                  <c:v>13.63</c:v>
                </c:pt>
                <c:pt idx="1266">
                  <c:v>45.67</c:v>
                </c:pt>
                <c:pt idx="1267">
                  <c:v>56.12</c:v>
                </c:pt>
                <c:pt idx="1268">
                  <c:v>53.94</c:v>
                </c:pt>
                <c:pt idx="1269">
                  <c:v>45.34</c:v>
                </c:pt>
                <c:pt idx="1270">
                  <c:v>50.33</c:v>
                </c:pt>
                <c:pt idx="1271">
                  <c:v>46.23</c:v>
                </c:pt>
                <c:pt idx="1272">
                  <c:v>43.02</c:v>
                </c:pt>
                <c:pt idx="1273">
                  <c:v>54.42</c:v>
                </c:pt>
                <c:pt idx="1274">
                  <c:v>50.4</c:v>
                </c:pt>
                <c:pt idx="1275">
                  <c:v>51.97</c:v>
                </c:pt>
                <c:pt idx="1276">
                  <c:v>51.2</c:v>
                </c:pt>
                <c:pt idx="1277">
                  <c:v>50.91</c:v>
                </c:pt>
                <c:pt idx="1278">
                  <c:v>43.04</c:v>
                </c:pt>
                <c:pt idx="1279">
                  <c:v>30.24</c:v>
                </c:pt>
                <c:pt idx="1280">
                  <c:v>53.3</c:v>
                </c:pt>
                <c:pt idx="1281">
                  <c:v>54.69</c:v>
                </c:pt>
                <c:pt idx="1282">
                  <c:v>53.54</c:v>
                </c:pt>
                <c:pt idx="1283">
                  <c:v>55.29</c:v>
                </c:pt>
                <c:pt idx="1284">
                  <c:v>52.06</c:v>
                </c:pt>
                <c:pt idx="1285">
                  <c:v>49.63</c:v>
                </c:pt>
                <c:pt idx="1286">
                  <c:v>44.36</c:v>
                </c:pt>
                <c:pt idx="1287">
                  <c:v>56.15</c:v>
                </c:pt>
                <c:pt idx="1288">
                  <c:v>51.05</c:v>
                </c:pt>
                <c:pt idx="1289">
                  <c:v>50.63</c:v>
                </c:pt>
                <c:pt idx="1290">
                  <c:v>48.4</c:v>
                </c:pt>
                <c:pt idx="1291">
                  <c:v>48.14</c:v>
                </c:pt>
                <c:pt idx="1292">
                  <c:v>42.85</c:v>
                </c:pt>
                <c:pt idx="1293">
                  <c:v>35.43</c:v>
                </c:pt>
                <c:pt idx="1294">
                  <c:v>43.64</c:v>
                </c:pt>
                <c:pt idx="1295">
                  <c:v>51.92</c:v>
                </c:pt>
                <c:pt idx="1296">
                  <c:v>50.62</c:v>
                </c:pt>
                <c:pt idx="1297">
                  <c:v>51.11</c:v>
                </c:pt>
                <c:pt idx="1298">
                  <c:v>48.23</c:v>
                </c:pt>
                <c:pt idx="1299">
                  <c:v>27.66</c:v>
                </c:pt>
                <c:pt idx="1300">
                  <c:v>19.82</c:v>
                </c:pt>
                <c:pt idx="1301">
                  <c:v>44.83</c:v>
                </c:pt>
                <c:pt idx="1302">
                  <c:v>49.77</c:v>
                </c:pt>
                <c:pt idx="1303">
                  <c:v>49.97</c:v>
                </c:pt>
                <c:pt idx="1304">
                  <c:v>49.72</c:v>
                </c:pt>
                <c:pt idx="1305">
                  <c:v>48.92</c:v>
                </c:pt>
                <c:pt idx="1306">
                  <c:v>42.33</c:v>
                </c:pt>
                <c:pt idx="1307">
                  <c:v>40.1</c:v>
                </c:pt>
                <c:pt idx="1308">
                  <c:v>49.89</c:v>
                </c:pt>
                <c:pt idx="1309">
                  <c:v>48.64</c:v>
                </c:pt>
                <c:pt idx="1310">
                  <c:v>47.6</c:v>
                </c:pt>
                <c:pt idx="1311">
                  <c:v>49.69</c:v>
                </c:pt>
                <c:pt idx="1312">
                  <c:v>48.01</c:v>
                </c:pt>
                <c:pt idx="1313">
                  <c:v>45.19</c:v>
                </c:pt>
                <c:pt idx="1314">
                  <c:v>27.61</c:v>
                </c:pt>
                <c:pt idx="1315">
                  <c:v>44.66</c:v>
                </c:pt>
                <c:pt idx="1316">
                  <c:v>35.67</c:v>
                </c:pt>
                <c:pt idx="1317">
                  <c:v>40.76</c:v>
                </c:pt>
                <c:pt idx="1318">
                  <c:v>42.58</c:v>
                </c:pt>
                <c:pt idx="1319">
                  <c:v>48.41</c:v>
                </c:pt>
                <c:pt idx="1320">
                  <c:v>47.62</c:v>
                </c:pt>
                <c:pt idx="1321">
                  <c:v>43.37</c:v>
                </c:pt>
                <c:pt idx="1322">
                  <c:v>46.62</c:v>
                </c:pt>
                <c:pt idx="1323">
                  <c:v>51.18</c:v>
                </c:pt>
                <c:pt idx="1324">
                  <c:v>51.23</c:v>
                </c:pt>
                <c:pt idx="1325">
                  <c:v>52.16</c:v>
                </c:pt>
                <c:pt idx="1326">
                  <c:v>51.14</c:v>
                </c:pt>
                <c:pt idx="1327">
                  <c:v>48.35</c:v>
                </c:pt>
                <c:pt idx="1328">
                  <c:v>45.5</c:v>
                </c:pt>
                <c:pt idx="1329">
                  <c:v>57.5</c:v>
                </c:pt>
                <c:pt idx="1330">
                  <c:v>54.69</c:v>
                </c:pt>
                <c:pt idx="1331">
                  <c:v>58.75</c:v>
                </c:pt>
                <c:pt idx="1332">
                  <c:v>63.74</c:v>
                </c:pt>
                <c:pt idx="1333">
                  <c:v>53.4</c:v>
                </c:pt>
                <c:pt idx="1334">
                  <c:v>48.49</c:v>
                </c:pt>
                <c:pt idx="1335">
                  <c:v>41.07</c:v>
                </c:pt>
                <c:pt idx="1336">
                  <c:v>49.82</c:v>
                </c:pt>
                <c:pt idx="1337">
                  <c:v>56.92</c:v>
                </c:pt>
                <c:pt idx="1338">
                  <c:v>55.5</c:v>
                </c:pt>
                <c:pt idx="1339">
                  <c:v>59.01</c:v>
                </c:pt>
                <c:pt idx="1340">
                  <c:v>56.9</c:v>
                </c:pt>
                <c:pt idx="1341">
                  <c:v>50.88</c:v>
                </c:pt>
                <c:pt idx="1342">
                  <c:v>45.34</c:v>
                </c:pt>
                <c:pt idx="1343">
                  <c:v>53.88</c:v>
                </c:pt>
                <c:pt idx="1344">
                  <c:v>46.23</c:v>
                </c:pt>
                <c:pt idx="1345">
                  <c:v>43.94</c:v>
                </c:pt>
                <c:pt idx="1346">
                  <c:v>50.33</c:v>
                </c:pt>
                <c:pt idx="1347">
                  <c:v>61.03</c:v>
                </c:pt>
                <c:pt idx="1348">
                  <c:v>49.55</c:v>
                </c:pt>
                <c:pt idx="1349">
                  <c:v>39.22</c:v>
                </c:pt>
                <c:pt idx="1350">
                  <c:v>48.94</c:v>
                </c:pt>
                <c:pt idx="1351">
                  <c:v>48.07</c:v>
                </c:pt>
                <c:pt idx="1352">
                  <c:v>50.66</c:v>
                </c:pt>
                <c:pt idx="1353">
                  <c:v>56.45</c:v>
                </c:pt>
                <c:pt idx="1354">
                  <c:v>58.08</c:v>
                </c:pt>
                <c:pt idx="1355">
                  <c:v>52.7</c:v>
                </c:pt>
                <c:pt idx="1356">
                  <c:v>45.63</c:v>
                </c:pt>
                <c:pt idx="1357">
                  <c:v>61.27</c:v>
                </c:pt>
                <c:pt idx="1358">
                  <c:v>57.97</c:v>
                </c:pt>
                <c:pt idx="1359">
                  <c:v>55.79</c:v>
                </c:pt>
                <c:pt idx="1360">
                  <c:v>52</c:v>
                </c:pt>
                <c:pt idx="1361">
                  <c:v>55.97</c:v>
                </c:pt>
                <c:pt idx="1362">
                  <c:v>48.34</c:v>
                </c:pt>
                <c:pt idx="1363">
                  <c:v>43.31</c:v>
                </c:pt>
                <c:pt idx="1364">
                  <c:v>54.3</c:v>
                </c:pt>
                <c:pt idx="1365">
                  <c:v>60.22</c:v>
                </c:pt>
                <c:pt idx="1366">
                  <c:v>58.42</c:v>
                </c:pt>
                <c:pt idx="1367">
                  <c:v>57.25</c:v>
                </c:pt>
                <c:pt idx="1368">
                  <c:v>57.6</c:v>
                </c:pt>
                <c:pt idx="1369">
                  <c:v>50.23</c:v>
                </c:pt>
                <c:pt idx="1370">
                  <c:v>41.59</c:v>
                </c:pt>
                <c:pt idx="1371">
                  <c:v>48.63</c:v>
                </c:pt>
                <c:pt idx="1372">
                  <c:v>51.91</c:v>
                </c:pt>
                <c:pt idx="1373">
                  <c:v>54.36</c:v>
                </c:pt>
                <c:pt idx="1374">
                  <c:v>46.24</c:v>
                </c:pt>
                <c:pt idx="1375">
                  <c:v>50.8</c:v>
                </c:pt>
                <c:pt idx="1376">
                  <c:v>49.73</c:v>
                </c:pt>
                <c:pt idx="1377">
                  <c:v>44.3</c:v>
                </c:pt>
                <c:pt idx="1378">
                  <c:v>50.98</c:v>
                </c:pt>
                <c:pt idx="1379">
                  <c:v>53.15</c:v>
                </c:pt>
                <c:pt idx="1380">
                  <c:v>54.39</c:v>
                </c:pt>
                <c:pt idx="1381">
                  <c:v>57.63</c:v>
                </c:pt>
                <c:pt idx="1382">
                  <c:v>54.65</c:v>
                </c:pt>
                <c:pt idx="1383">
                  <c:v>47.71</c:v>
                </c:pt>
                <c:pt idx="1384">
                  <c:v>43.58</c:v>
                </c:pt>
                <c:pt idx="1385">
                  <c:v>57.68</c:v>
                </c:pt>
                <c:pt idx="1386">
                  <c:v>49.59</c:v>
                </c:pt>
                <c:pt idx="1387">
                  <c:v>55.36</c:v>
                </c:pt>
                <c:pt idx="1388">
                  <c:v>62.41</c:v>
                </c:pt>
                <c:pt idx="1389">
                  <c:v>55.49</c:v>
                </c:pt>
                <c:pt idx="1390">
                  <c:v>48.67</c:v>
                </c:pt>
                <c:pt idx="1391">
                  <c:v>41.26</c:v>
                </c:pt>
                <c:pt idx="1392">
                  <c:v>49.28</c:v>
                </c:pt>
                <c:pt idx="1393">
                  <c:v>54.32</c:v>
                </c:pt>
                <c:pt idx="1394">
                  <c:v>59.46</c:v>
                </c:pt>
                <c:pt idx="1395">
                  <c:v>60.07</c:v>
                </c:pt>
                <c:pt idx="1396">
                  <c:v>56.75</c:v>
                </c:pt>
                <c:pt idx="1397">
                  <c:v>50.67</c:v>
                </c:pt>
                <c:pt idx="1398">
                  <c:v>45.04</c:v>
                </c:pt>
                <c:pt idx="1399">
                  <c:v>55.34</c:v>
                </c:pt>
                <c:pt idx="1400">
                  <c:v>47.37</c:v>
                </c:pt>
                <c:pt idx="1401">
                  <c:v>58.61</c:v>
                </c:pt>
                <c:pt idx="1402">
                  <c:v>52.67</c:v>
                </c:pt>
                <c:pt idx="1403">
                  <c:v>55.98</c:v>
                </c:pt>
                <c:pt idx="1404">
                  <c:v>47.63</c:v>
                </c:pt>
                <c:pt idx="1405">
                  <c:v>46.08</c:v>
                </c:pt>
                <c:pt idx="1406">
                  <c:v>56.3</c:v>
                </c:pt>
                <c:pt idx="1407">
                  <c:v>56.87</c:v>
                </c:pt>
                <c:pt idx="1408">
                  <c:v>59.41</c:v>
                </c:pt>
                <c:pt idx="1409">
                  <c:v>58.95</c:v>
                </c:pt>
                <c:pt idx="1410">
                  <c:v>50.91</c:v>
                </c:pt>
                <c:pt idx="1411">
                  <c:v>49.2</c:v>
                </c:pt>
                <c:pt idx="1412">
                  <c:v>45.65</c:v>
                </c:pt>
                <c:pt idx="1413">
                  <c:v>62.43</c:v>
                </c:pt>
                <c:pt idx="1414">
                  <c:v>62.13</c:v>
                </c:pt>
                <c:pt idx="1415">
                  <c:v>61.78</c:v>
                </c:pt>
                <c:pt idx="1416">
                  <c:v>63.21</c:v>
                </c:pt>
                <c:pt idx="1417">
                  <c:v>61.95</c:v>
                </c:pt>
                <c:pt idx="1418">
                  <c:v>51.84</c:v>
                </c:pt>
                <c:pt idx="1419">
                  <c:v>49.13</c:v>
                </c:pt>
                <c:pt idx="1420">
                  <c:v>64.22</c:v>
                </c:pt>
                <c:pt idx="1421">
                  <c:v>63.89</c:v>
                </c:pt>
                <c:pt idx="1422">
                  <c:v>65.27</c:v>
                </c:pt>
                <c:pt idx="1423">
                  <c:v>61.07</c:v>
                </c:pt>
                <c:pt idx="1424">
                  <c:v>55.71</c:v>
                </c:pt>
                <c:pt idx="1425">
                  <c:v>45.93</c:v>
                </c:pt>
                <c:pt idx="1426">
                  <c:v>33.92</c:v>
                </c:pt>
                <c:pt idx="1427">
                  <c:v>58.99</c:v>
                </c:pt>
                <c:pt idx="1428">
                  <c:v>55.97</c:v>
                </c:pt>
                <c:pt idx="1429">
                  <c:v>57.67</c:v>
                </c:pt>
                <c:pt idx="1430">
                  <c:v>52.76</c:v>
                </c:pt>
                <c:pt idx="1431">
                  <c:v>53.02</c:v>
                </c:pt>
                <c:pt idx="1432">
                  <c:v>46.32</c:v>
                </c:pt>
                <c:pt idx="1433">
                  <c:v>36.75</c:v>
                </c:pt>
                <c:pt idx="1434">
                  <c:v>46.05</c:v>
                </c:pt>
                <c:pt idx="1435">
                  <c:v>49.59</c:v>
                </c:pt>
                <c:pt idx="1436">
                  <c:v>48.95</c:v>
                </c:pt>
                <c:pt idx="1437">
                  <c:v>46.41</c:v>
                </c:pt>
                <c:pt idx="1438">
                  <c:v>42.59</c:v>
                </c:pt>
                <c:pt idx="1439">
                  <c:v>46.13</c:v>
                </c:pt>
                <c:pt idx="1440">
                  <c:v>45.39</c:v>
                </c:pt>
                <c:pt idx="1441">
                  <c:v>49.84</c:v>
                </c:pt>
                <c:pt idx="1442">
                  <c:v>45.64</c:v>
                </c:pt>
                <c:pt idx="1443">
                  <c:v>45.98</c:v>
                </c:pt>
                <c:pt idx="1444">
                  <c:v>45.99</c:v>
                </c:pt>
                <c:pt idx="1445">
                  <c:v>48.13</c:v>
                </c:pt>
                <c:pt idx="1446">
                  <c:v>33.200000000000003</c:v>
                </c:pt>
                <c:pt idx="1447">
                  <c:v>34.15</c:v>
                </c:pt>
                <c:pt idx="1448">
                  <c:v>48.89</c:v>
                </c:pt>
                <c:pt idx="1449">
                  <c:v>47.54</c:v>
                </c:pt>
                <c:pt idx="1450">
                  <c:v>49.83</c:v>
                </c:pt>
                <c:pt idx="1451">
                  <c:v>49.65</c:v>
                </c:pt>
                <c:pt idx="1452">
                  <c:v>46.49</c:v>
                </c:pt>
                <c:pt idx="1453">
                  <c:v>28.16</c:v>
                </c:pt>
                <c:pt idx="1454">
                  <c:v>15.69</c:v>
                </c:pt>
                <c:pt idx="1455">
                  <c:v>27.67</c:v>
                </c:pt>
                <c:pt idx="1456">
                  <c:v>42.67</c:v>
                </c:pt>
                <c:pt idx="1457">
                  <c:v>44.33</c:v>
                </c:pt>
                <c:pt idx="1458">
                  <c:v>33.82</c:v>
                </c:pt>
                <c:pt idx="1459">
                  <c:v>39.01</c:v>
                </c:pt>
                <c:pt idx="1460">
                  <c:v>39.19</c:v>
                </c:pt>
                <c:pt idx="1461">
                  <c:v>18.190000000000001</c:v>
                </c:pt>
                <c:pt idx="1462">
                  <c:v>33.82</c:v>
                </c:pt>
                <c:pt idx="1463">
                  <c:v>35.03</c:v>
                </c:pt>
                <c:pt idx="1464">
                  <c:v>32.159999999999997</c:v>
                </c:pt>
                <c:pt idx="1465">
                  <c:v>20.350000000000001</c:v>
                </c:pt>
                <c:pt idx="1466">
                  <c:v>36.26</c:v>
                </c:pt>
                <c:pt idx="1467">
                  <c:v>32.58</c:v>
                </c:pt>
                <c:pt idx="1468">
                  <c:v>26.83</c:v>
                </c:pt>
                <c:pt idx="1469">
                  <c:v>47.91</c:v>
                </c:pt>
                <c:pt idx="1470">
                  <c:v>45.77</c:v>
                </c:pt>
                <c:pt idx="1471">
                  <c:v>47.83</c:v>
                </c:pt>
                <c:pt idx="1472">
                  <c:v>43.1</c:v>
                </c:pt>
                <c:pt idx="1473">
                  <c:v>36.69</c:v>
                </c:pt>
                <c:pt idx="1474">
                  <c:v>40.06</c:v>
                </c:pt>
                <c:pt idx="1475">
                  <c:v>41.58</c:v>
                </c:pt>
                <c:pt idx="1476">
                  <c:v>49.51</c:v>
                </c:pt>
                <c:pt idx="1477">
                  <c:v>50.02</c:v>
                </c:pt>
                <c:pt idx="1478">
                  <c:v>45.37</c:v>
                </c:pt>
                <c:pt idx="1479">
                  <c:v>45.16</c:v>
                </c:pt>
                <c:pt idx="1480">
                  <c:v>42.73</c:v>
                </c:pt>
                <c:pt idx="1481">
                  <c:v>37.61</c:v>
                </c:pt>
                <c:pt idx="1482">
                  <c:v>13.66</c:v>
                </c:pt>
                <c:pt idx="1483">
                  <c:v>44.01</c:v>
                </c:pt>
                <c:pt idx="1484">
                  <c:v>49.35</c:v>
                </c:pt>
                <c:pt idx="1485">
                  <c:v>47.16</c:v>
                </c:pt>
                <c:pt idx="1486">
                  <c:v>45.18</c:v>
                </c:pt>
                <c:pt idx="1487">
                  <c:v>48.76</c:v>
                </c:pt>
                <c:pt idx="1488">
                  <c:v>45.34</c:v>
                </c:pt>
                <c:pt idx="1489">
                  <c:v>41.5</c:v>
                </c:pt>
                <c:pt idx="1490">
                  <c:v>44.31</c:v>
                </c:pt>
                <c:pt idx="1491">
                  <c:v>48.72</c:v>
                </c:pt>
                <c:pt idx="1492">
                  <c:v>51.21</c:v>
                </c:pt>
                <c:pt idx="1493">
                  <c:v>62.34</c:v>
                </c:pt>
                <c:pt idx="1494">
                  <c:v>63.81</c:v>
                </c:pt>
                <c:pt idx="1495">
                  <c:v>51.38</c:v>
                </c:pt>
                <c:pt idx="1496">
                  <c:v>44.33</c:v>
                </c:pt>
                <c:pt idx="1497">
                  <c:v>78.95</c:v>
                </c:pt>
                <c:pt idx="1498">
                  <c:v>78.12</c:v>
                </c:pt>
                <c:pt idx="1499">
                  <c:v>98.98</c:v>
                </c:pt>
                <c:pt idx="1500">
                  <c:v>76.489999999999995</c:v>
                </c:pt>
                <c:pt idx="1501">
                  <c:v>82.48</c:v>
                </c:pt>
                <c:pt idx="1502">
                  <c:v>53.19</c:v>
                </c:pt>
                <c:pt idx="1503">
                  <c:v>42.5</c:v>
                </c:pt>
                <c:pt idx="1504">
                  <c:v>84.43</c:v>
                </c:pt>
                <c:pt idx="1505">
                  <c:v>63.87</c:v>
                </c:pt>
                <c:pt idx="1506">
                  <c:v>35.979999999999997</c:v>
                </c:pt>
                <c:pt idx="1507">
                  <c:v>54.89</c:v>
                </c:pt>
                <c:pt idx="1508">
                  <c:v>48.07</c:v>
                </c:pt>
                <c:pt idx="1509">
                  <c:v>42.1</c:v>
                </c:pt>
                <c:pt idx="1510">
                  <c:v>28.75</c:v>
                </c:pt>
                <c:pt idx="1511">
                  <c:v>50.64</c:v>
                </c:pt>
                <c:pt idx="1512">
                  <c:v>43.62</c:v>
                </c:pt>
                <c:pt idx="1513">
                  <c:v>43.79</c:v>
                </c:pt>
                <c:pt idx="1514">
                  <c:v>41.03</c:v>
                </c:pt>
                <c:pt idx="1515">
                  <c:v>44.78</c:v>
                </c:pt>
                <c:pt idx="1516">
                  <c:v>40.299999999999997</c:v>
                </c:pt>
                <c:pt idx="1517">
                  <c:v>42.77</c:v>
                </c:pt>
                <c:pt idx="1518">
                  <c:v>47.26</c:v>
                </c:pt>
                <c:pt idx="1519">
                  <c:v>47.42</c:v>
                </c:pt>
                <c:pt idx="1520">
                  <c:v>49.33</c:v>
                </c:pt>
                <c:pt idx="1521">
                  <c:v>47.45</c:v>
                </c:pt>
                <c:pt idx="1522">
                  <c:v>49.04</c:v>
                </c:pt>
                <c:pt idx="1523">
                  <c:v>39.380000000000003</c:v>
                </c:pt>
                <c:pt idx="1524">
                  <c:v>37.47</c:v>
                </c:pt>
                <c:pt idx="1525">
                  <c:v>44.55</c:v>
                </c:pt>
                <c:pt idx="1526">
                  <c:v>48.55</c:v>
                </c:pt>
                <c:pt idx="1527">
                  <c:v>43.25</c:v>
                </c:pt>
                <c:pt idx="1528">
                  <c:v>45.9</c:v>
                </c:pt>
                <c:pt idx="1529">
                  <c:v>47.74</c:v>
                </c:pt>
                <c:pt idx="1530">
                  <c:v>41.74</c:v>
                </c:pt>
                <c:pt idx="1531">
                  <c:v>31.68</c:v>
                </c:pt>
                <c:pt idx="1532">
                  <c:v>45.05</c:v>
                </c:pt>
                <c:pt idx="1533">
                  <c:v>47.9</c:v>
                </c:pt>
                <c:pt idx="1534">
                  <c:v>46.74</c:v>
                </c:pt>
                <c:pt idx="1535">
                  <c:v>47.47</c:v>
                </c:pt>
                <c:pt idx="1536">
                  <c:v>43.68</c:v>
                </c:pt>
                <c:pt idx="1537">
                  <c:v>40.22</c:v>
                </c:pt>
                <c:pt idx="1538">
                  <c:v>34.4</c:v>
                </c:pt>
                <c:pt idx="1539">
                  <c:v>46.02</c:v>
                </c:pt>
                <c:pt idx="1540">
                  <c:v>43.44</c:v>
                </c:pt>
                <c:pt idx="1541">
                  <c:v>45.56</c:v>
                </c:pt>
                <c:pt idx="1542">
                  <c:v>45.35</c:v>
                </c:pt>
                <c:pt idx="1543">
                  <c:v>41.75</c:v>
                </c:pt>
                <c:pt idx="1544">
                  <c:v>38.630000000000003</c:v>
                </c:pt>
                <c:pt idx="1545">
                  <c:v>25.37</c:v>
                </c:pt>
                <c:pt idx="1546">
                  <c:v>41.6</c:v>
                </c:pt>
                <c:pt idx="1547">
                  <c:v>39.4</c:v>
                </c:pt>
                <c:pt idx="1548">
                  <c:v>39.26</c:v>
                </c:pt>
                <c:pt idx="1549">
                  <c:v>31.62</c:v>
                </c:pt>
                <c:pt idx="1550">
                  <c:v>35.56</c:v>
                </c:pt>
                <c:pt idx="1551">
                  <c:v>19.239999999999998</c:v>
                </c:pt>
                <c:pt idx="1552">
                  <c:v>24.1</c:v>
                </c:pt>
                <c:pt idx="1553">
                  <c:v>43.54</c:v>
                </c:pt>
                <c:pt idx="1554">
                  <c:v>50.55</c:v>
                </c:pt>
                <c:pt idx="1555">
                  <c:v>47.77</c:v>
                </c:pt>
                <c:pt idx="1556">
                  <c:v>50.02</c:v>
                </c:pt>
                <c:pt idx="1557">
                  <c:v>41.77</c:v>
                </c:pt>
                <c:pt idx="1558">
                  <c:v>39.450000000000003</c:v>
                </c:pt>
                <c:pt idx="1559">
                  <c:v>35.200000000000003</c:v>
                </c:pt>
                <c:pt idx="1560">
                  <c:v>21.86</c:v>
                </c:pt>
                <c:pt idx="1561">
                  <c:v>40.67</c:v>
                </c:pt>
                <c:pt idx="1562">
                  <c:v>53.86</c:v>
                </c:pt>
                <c:pt idx="1563">
                  <c:v>52.96</c:v>
                </c:pt>
                <c:pt idx="1564">
                  <c:v>56.68</c:v>
                </c:pt>
                <c:pt idx="1565">
                  <c:v>45.09</c:v>
                </c:pt>
                <c:pt idx="1566">
                  <c:v>34.369999999999997</c:v>
                </c:pt>
                <c:pt idx="1567">
                  <c:v>45.26</c:v>
                </c:pt>
                <c:pt idx="1568">
                  <c:v>51.5</c:v>
                </c:pt>
                <c:pt idx="1569">
                  <c:v>50.88</c:v>
                </c:pt>
                <c:pt idx="1570">
                  <c:v>50.4</c:v>
                </c:pt>
                <c:pt idx="1571">
                  <c:v>53.87</c:v>
                </c:pt>
                <c:pt idx="1572">
                  <c:v>42.16</c:v>
                </c:pt>
                <c:pt idx="1573">
                  <c:v>37.78</c:v>
                </c:pt>
                <c:pt idx="1574">
                  <c:v>51.39</c:v>
                </c:pt>
                <c:pt idx="1575">
                  <c:v>51.21</c:v>
                </c:pt>
                <c:pt idx="1576">
                  <c:v>44.1</c:v>
                </c:pt>
                <c:pt idx="1577">
                  <c:v>41.63</c:v>
                </c:pt>
                <c:pt idx="1578">
                  <c:v>46.9</c:v>
                </c:pt>
                <c:pt idx="1579">
                  <c:v>37.22</c:v>
                </c:pt>
                <c:pt idx="1580">
                  <c:v>22.46</c:v>
                </c:pt>
                <c:pt idx="1581">
                  <c:v>42.3</c:v>
                </c:pt>
                <c:pt idx="1582">
                  <c:v>23.78</c:v>
                </c:pt>
                <c:pt idx="1583">
                  <c:v>48.18</c:v>
                </c:pt>
                <c:pt idx="1584">
                  <c:v>50.29</c:v>
                </c:pt>
                <c:pt idx="1585">
                  <c:v>42.93</c:v>
                </c:pt>
                <c:pt idx="1586">
                  <c:v>36.770000000000003</c:v>
                </c:pt>
                <c:pt idx="1587">
                  <c:v>32.68</c:v>
                </c:pt>
                <c:pt idx="1588">
                  <c:v>47.38</c:v>
                </c:pt>
                <c:pt idx="1589">
                  <c:v>40.340000000000003</c:v>
                </c:pt>
                <c:pt idx="1590">
                  <c:v>48.67</c:v>
                </c:pt>
                <c:pt idx="1591">
                  <c:v>43.12</c:v>
                </c:pt>
                <c:pt idx="1592">
                  <c:v>38.83</c:v>
                </c:pt>
                <c:pt idx="1593">
                  <c:v>35.380000000000003</c:v>
                </c:pt>
                <c:pt idx="1594">
                  <c:v>31.2</c:v>
                </c:pt>
                <c:pt idx="1595">
                  <c:v>44.67</c:v>
                </c:pt>
                <c:pt idx="1596">
                  <c:v>49.19</c:v>
                </c:pt>
                <c:pt idx="1597">
                  <c:v>40.869999999999997</c:v>
                </c:pt>
                <c:pt idx="1598">
                  <c:v>30.41</c:v>
                </c:pt>
                <c:pt idx="1599">
                  <c:v>35.49</c:v>
                </c:pt>
                <c:pt idx="1600">
                  <c:v>36.520000000000003</c:v>
                </c:pt>
                <c:pt idx="1601">
                  <c:v>25.06</c:v>
                </c:pt>
                <c:pt idx="1602">
                  <c:v>39.049999999999997</c:v>
                </c:pt>
                <c:pt idx="1603">
                  <c:v>46.12</c:v>
                </c:pt>
                <c:pt idx="1604">
                  <c:v>43.47</c:v>
                </c:pt>
                <c:pt idx="1605">
                  <c:v>43.17</c:v>
                </c:pt>
                <c:pt idx="1606">
                  <c:v>38.68</c:v>
                </c:pt>
                <c:pt idx="1607">
                  <c:v>29.89</c:v>
                </c:pt>
                <c:pt idx="1608">
                  <c:v>20.46</c:v>
                </c:pt>
                <c:pt idx="1609">
                  <c:v>25.63</c:v>
                </c:pt>
                <c:pt idx="1610">
                  <c:v>41.12</c:v>
                </c:pt>
                <c:pt idx="1611">
                  <c:v>46.08</c:v>
                </c:pt>
                <c:pt idx="1612">
                  <c:v>48.92</c:v>
                </c:pt>
                <c:pt idx="1613">
                  <c:v>38.15</c:v>
                </c:pt>
                <c:pt idx="1614">
                  <c:v>30.26</c:v>
                </c:pt>
                <c:pt idx="1615">
                  <c:v>30.95</c:v>
                </c:pt>
                <c:pt idx="1616">
                  <c:v>46.51</c:v>
                </c:pt>
                <c:pt idx="1617">
                  <c:v>41.75</c:v>
                </c:pt>
                <c:pt idx="1618">
                  <c:v>48.5</c:v>
                </c:pt>
                <c:pt idx="1619">
                  <c:v>37.479999999999997</c:v>
                </c:pt>
                <c:pt idx="1620">
                  <c:v>38.03</c:v>
                </c:pt>
                <c:pt idx="1621">
                  <c:v>23.04</c:v>
                </c:pt>
                <c:pt idx="1622">
                  <c:v>24.37</c:v>
                </c:pt>
                <c:pt idx="1623">
                  <c:v>45.57</c:v>
                </c:pt>
                <c:pt idx="1624">
                  <c:v>48.86</c:v>
                </c:pt>
                <c:pt idx="1625">
                  <c:v>48.03</c:v>
                </c:pt>
                <c:pt idx="1626">
                  <c:v>47.89</c:v>
                </c:pt>
                <c:pt idx="1627">
                  <c:v>39.729999999999997</c:v>
                </c:pt>
                <c:pt idx="1628">
                  <c:v>27.95</c:v>
                </c:pt>
                <c:pt idx="1629">
                  <c:v>22</c:v>
                </c:pt>
                <c:pt idx="1630">
                  <c:v>38.24</c:v>
                </c:pt>
                <c:pt idx="1631">
                  <c:v>47.58</c:v>
                </c:pt>
                <c:pt idx="1632">
                  <c:v>50.89</c:v>
                </c:pt>
                <c:pt idx="1633">
                  <c:v>48.61</c:v>
                </c:pt>
                <c:pt idx="1634">
                  <c:v>39.22</c:v>
                </c:pt>
                <c:pt idx="1635">
                  <c:v>32.14</c:v>
                </c:pt>
                <c:pt idx="1636">
                  <c:v>18.59</c:v>
                </c:pt>
                <c:pt idx="1637">
                  <c:v>32.25</c:v>
                </c:pt>
                <c:pt idx="1638">
                  <c:v>37.450000000000003</c:v>
                </c:pt>
                <c:pt idx="1639">
                  <c:v>48.97</c:v>
                </c:pt>
                <c:pt idx="1640">
                  <c:v>47.53</c:v>
                </c:pt>
                <c:pt idx="1641">
                  <c:v>46.52</c:v>
                </c:pt>
                <c:pt idx="1642">
                  <c:v>37.18</c:v>
                </c:pt>
                <c:pt idx="1643">
                  <c:v>25.09</c:v>
                </c:pt>
                <c:pt idx="1644">
                  <c:v>44.47</c:v>
                </c:pt>
                <c:pt idx="1645">
                  <c:v>49.63</c:v>
                </c:pt>
                <c:pt idx="1646">
                  <c:v>47.37</c:v>
                </c:pt>
                <c:pt idx="1647">
                  <c:v>46.29</c:v>
                </c:pt>
                <c:pt idx="1648">
                  <c:v>48.53</c:v>
                </c:pt>
                <c:pt idx="1649">
                  <c:v>39.75</c:v>
                </c:pt>
                <c:pt idx="1650">
                  <c:v>24.68</c:v>
                </c:pt>
                <c:pt idx="1651">
                  <c:v>40.79</c:v>
                </c:pt>
                <c:pt idx="1652">
                  <c:v>47.72</c:v>
                </c:pt>
                <c:pt idx="1653">
                  <c:v>45.3</c:v>
                </c:pt>
                <c:pt idx="1654">
                  <c:v>39.65</c:v>
                </c:pt>
                <c:pt idx="1655">
                  <c:v>46.04</c:v>
                </c:pt>
                <c:pt idx="1656">
                  <c:v>31.72</c:v>
                </c:pt>
                <c:pt idx="1657">
                  <c:v>26.19</c:v>
                </c:pt>
                <c:pt idx="1658">
                  <c:v>38.42</c:v>
                </c:pt>
                <c:pt idx="1659">
                  <c:v>44.49</c:v>
                </c:pt>
                <c:pt idx="1660">
                  <c:v>43.81</c:v>
                </c:pt>
                <c:pt idx="1661">
                  <c:v>40.25</c:v>
                </c:pt>
                <c:pt idx="1662">
                  <c:v>45.46</c:v>
                </c:pt>
                <c:pt idx="1663">
                  <c:v>38.39</c:v>
                </c:pt>
                <c:pt idx="1664">
                  <c:v>28.09</c:v>
                </c:pt>
                <c:pt idx="1665">
                  <c:v>42.73</c:v>
                </c:pt>
                <c:pt idx="1666">
                  <c:v>45.54</c:v>
                </c:pt>
                <c:pt idx="1667">
                  <c:v>49.36</c:v>
                </c:pt>
                <c:pt idx="1668">
                  <c:v>49.58</c:v>
                </c:pt>
                <c:pt idx="1669">
                  <c:v>48.63</c:v>
                </c:pt>
                <c:pt idx="1670">
                  <c:v>38.67</c:v>
                </c:pt>
                <c:pt idx="1671">
                  <c:v>30.65</c:v>
                </c:pt>
                <c:pt idx="1672">
                  <c:v>39.869999999999997</c:v>
                </c:pt>
                <c:pt idx="1673">
                  <c:v>44.46</c:v>
                </c:pt>
                <c:pt idx="1674">
                  <c:v>41.49</c:v>
                </c:pt>
                <c:pt idx="1675">
                  <c:v>42.59</c:v>
                </c:pt>
                <c:pt idx="1676">
                  <c:v>46.74</c:v>
                </c:pt>
                <c:pt idx="1677">
                  <c:v>40.159999999999997</c:v>
                </c:pt>
                <c:pt idx="1678">
                  <c:v>35.99</c:v>
                </c:pt>
                <c:pt idx="1679">
                  <c:v>43.67</c:v>
                </c:pt>
                <c:pt idx="1680">
                  <c:v>38.119999999999997</c:v>
                </c:pt>
                <c:pt idx="1681">
                  <c:v>44.22</c:v>
                </c:pt>
                <c:pt idx="1682">
                  <c:v>47.12</c:v>
                </c:pt>
                <c:pt idx="1683">
                  <c:v>44.85</c:v>
                </c:pt>
                <c:pt idx="1684">
                  <c:v>41.03</c:v>
                </c:pt>
                <c:pt idx="1685">
                  <c:v>26.47</c:v>
                </c:pt>
                <c:pt idx="1686">
                  <c:v>45.16</c:v>
                </c:pt>
                <c:pt idx="1687">
                  <c:v>47.92</c:v>
                </c:pt>
                <c:pt idx="1688">
                  <c:v>41.48</c:v>
                </c:pt>
                <c:pt idx="1689">
                  <c:v>51.45</c:v>
                </c:pt>
                <c:pt idx="1690">
                  <c:v>51.78</c:v>
                </c:pt>
                <c:pt idx="1691">
                  <c:v>40.5</c:v>
                </c:pt>
                <c:pt idx="1692">
                  <c:v>36.75</c:v>
                </c:pt>
                <c:pt idx="1693">
                  <c:v>49.93</c:v>
                </c:pt>
                <c:pt idx="1694">
                  <c:v>61.03</c:v>
                </c:pt>
                <c:pt idx="1695">
                  <c:v>49.38</c:v>
                </c:pt>
                <c:pt idx="1696">
                  <c:v>53.29</c:v>
                </c:pt>
                <c:pt idx="1697">
                  <c:v>51.33</c:v>
                </c:pt>
                <c:pt idx="1698">
                  <c:v>42.65</c:v>
                </c:pt>
                <c:pt idx="1699">
                  <c:v>24.8</c:v>
                </c:pt>
                <c:pt idx="1700">
                  <c:v>47.88</c:v>
                </c:pt>
                <c:pt idx="1701">
                  <c:v>49.45</c:v>
                </c:pt>
                <c:pt idx="1702">
                  <c:v>52.23</c:v>
                </c:pt>
                <c:pt idx="1703">
                  <c:v>52.52</c:v>
                </c:pt>
                <c:pt idx="1704">
                  <c:v>49.86</c:v>
                </c:pt>
                <c:pt idx="1705">
                  <c:v>43.82</c:v>
                </c:pt>
                <c:pt idx="1706">
                  <c:v>34.28</c:v>
                </c:pt>
                <c:pt idx="1707">
                  <c:v>50.81</c:v>
                </c:pt>
                <c:pt idx="1708">
                  <c:v>49.1</c:v>
                </c:pt>
                <c:pt idx="1709">
                  <c:v>49.62</c:v>
                </c:pt>
                <c:pt idx="1710">
                  <c:v>50.07</c:v>
                </c:pt>
                <c:pt idx="1711">
                  <c:v>45.4</c:v>
                </c:pt>
                <c:pt idx="1712">
                  <c:v>46.99</c:v>
                </c:pt>
                <c:pt idx="1713">
                  <c:v>38.56</c:v>
                </c:pt>
                <c:pt idx="1714">
                  <c:v>51.29</c:v>
                </c:pt>
                <c:pt idx="1715">
                  <c:v>53.52</c:v>
                </c:pt>
                <c:pt idx="1716">
                  <c:v>55.87</c:v>
                </c:pt>
                <c:pt idx="1717">
                  <c:v>52.74</c:v>
                </c:pt>
                <c:pt idx="1718">
                  <c:v>33.33</c:v>
                </c:pt>
                <c:pt idx="1719">
                  <c:v>38.270000000000003</c:v>
                </c:pt>
                <c:pt idx="1720">
                  <c:v>33.69</c:v>
                </c:pt>
                <c:pt idx="1721">
                  <c:v>50.13</c:v>
                </c:pt>
                <c:pt idx="1722">
                  <c:v>53.19</c:v>
                </c:pt>
                <c:pt idx="1723">
                  <c:v>51.57</c:v>
                </c:pt>
                <c:pt idx="1724">
                  <c:v>50.44</c:v>
                </c:pt>
                <c:pt idx="1725">
                  <c:v>48.85</c:v>
                </c:pt>
                <c:pt idx="1726">
                  <c:v>38.450000000000003</c:v>
                </c:pt>
                <c:pt idx="1727">
                  <c:v>33.130000000000003</c:v>
                </c:pt>
                <c:pt idx="1728">
                  <c:v>39.380000000000003</c:v>
                </c:pt>
                <c:pt idx="1729">
                  <c:v>44.42</c:v>
                </c:pt>
                <c:pt idx="1730">
                  <c:v>49.89</c:v>
                </c:pt>
                <c:pt idx="1731">
                  <c:v>47.66</c:v>
                </c:pt>
                <c:pt idx="1732">
                  <c:v>43.36</c:v>
                </c:pt>
                <c:pt idx="1733">
                  <c:v>34.700000000000003</c:v>
                </c:pt>
                <c:pt idx="1734">
                  <c:v>27.62</c:v>
                </c:pt>
                <c:pt idx="1735">
                  <c:v>50.93</c:v>
                </c:pt>
                <c:pt idx="1736">
                  <c:v>47.47</c:v>
                </c:pt>
                <c:pt idx="1737">
                  <c:v>29.75</c:v>
                </c:pt>
                <c:pt idx="1738">
                  <c:v>47.77</c:v>
                </c:pt>
                <c:pt idx="1739">
                  <c:v>40.58</c:v>
                </c:pt>
                <c:pt idx="1740">
                  <c:v>38.840000000000003</c:v>
                </c:pt>
                <c:pt idx="1741">
                  <c:v>33.119999999999997</c:v>
                </c:pt>
                <c:pt idx="1742">
                  <c:v>41.12</c:v>
                </c:pt>
                <c:pt idx="1743">
                  <c:v>44.9</c:v>
                </c:pt>
                <c:pt idx="1744">
                  <c:v>51.55</c:v>
                </c:pt>
                <c:pt idx="1745">
                  <c:v>52.69</c:v>
                </c:pt>
                <c:pt idx="1746">
                  <c:v>46.95</c:v>
                </c:pt>
                <c:pt idx="1747">
                  <c:v>36.979999999999997</c:v>
                </c:pt>
                <c:pt idx="1748">
                  <c:v>30.27</c:v>
                </c:pt>
                <c:pt idx="1749">
                  <c:v>43.52</c:v>
                </c:pt>
                <c:pt idx="1750">
                  <c:v>42.45</c:v>
                </c:pt>
                <c:pt idx="1751">
                  <c:v>42.07</c:v>
                </c:pt>
                <c:pt idx="1752">
                  <c:v>41.01</c:v>
                </c:pt>
                <c:pt idx="1753">
                  <c:v>44.76</c:v>
                </c:pt>
                <c:pt idx="1754">
                  <c:v>38.11</c:v>
                </c:pt>
                <c:pt idx="1755">
                  <c:v>37.200000000000003</c:v>
                </c:pt>
                <c:pt idx="1756">
                  <c:v>49.21</c:v>
                </c:pt>
                <c:pt idx="1757">
                  <c:v>51.09</c:v>
                </c:pt>
                <c:pt idx="1758">
                  <c:v>54.83</c:v>
                </c:pt>
                <c:pt idx="1759">
                  <c:v>50.13</c:v>
                </c:pt>
                <c:pt idx="1760">
                  <c:v>51.47</c:v>
                </c:pt>
                <c:pt idx="1761">
                  <c:v>39.57</c:v>
                </c:pt>
                <c:pt idx="1762">
                  <c:v>37.33</c:v>
                </c:pt>
                <c:pt idx="1763">
                  <c:v>42.64</c:v>
                </c:pt>
                <c:pt idx="1764">
                  <c:v>55.52</c:v>
                </c:pt>
                <c:pt idx="1765">
                  <c:v>48.04</c:v>
                </c:pt>
                <c:pt idx="1766">
                  <c:v>33.14</c:v>
                </c:pt>
                <c:pt idx="1767">
                  <c:v>35.01</c:v>
                </c:pt>
                <c:pt idx="1768">
                  <c:v>35.479999999999997</c:v>
                </c:pt>
                <c:pt idx="1769">
                  <c:v>28.45</c:v>
                </c:pt>
                <c:pt idx="1770">
                  <c:v>43.11</c:v>
                </c:pt>
                <c:pt idx="1771">
                  <c:v>43.59</c:v>
                </c:pt>
                <c:pt idx="1772">
                  <c:v>35.46</c:v>
                </c:pt>
                <c:pt idx="1773">
                  <c:v>39.81</c:v>
                </c:pt>
                <c:pt idx="1774">
                  <c:v>51.02</c:v>
                </c:pt>
                <c:pt idx="1775">
                  <c:v>39.51</c:v>
                </c:pt>
                <c:pt idx="1776">
                  <c:v>34.72</c:v>
                </c:pt>
                <c:pt idx="1777">
                  <c:v>52.56</c:v>
                </c:pt>
                <c:pt idx="1778">
                  <c:v>52.05</c:v>
                </c:pt>
                <c:pt idx="1779">
                  <c:v>50.89</c:v>
                </c:pt>
                <c:pt idx="1780">
                  <c:v>55.55</c:v>
                </c:pt>
                <c:pt idx="1781">
                  <c:v>52.09</c:v>
                </c:pt>
                <c:pt idx="1782">
                  <c:v>40.94</c:v>
                </c:pt>
                <c:pt idx="1783">
                  <c:v>42.61</c:v>
                </c:pt>
                <c:pt idx="1784">
                  <c:v>54.26</c:v>
                </c:pt>
                <c:pt idx="1785">
                  <c:v>52.2</c:v>
                </c:pt>
                <c:pt idx="1786">
                  <c:v>50.4</c:v>
                </c:pt>
                <c:pt idx="1787">
                  <c:v>48.8</c:v>
                </c:pt>
                <c:pt idx="1788">
                  <c:v>47.34</c:v>
                </c:pt>
                <c:pt idx="1789">
                  <c:v>41.61</c:v>
                </c:pt>
                <c:pt idx="1790">
                  <c:v>19.91</c:v>
                </c:pt>
                <c:pt idx="1791">
                  <c:v>44.22</c:v>
                </c:pt>
                <c:pt idx="1792">
                  <c:v>55.49</c:v>
                </c:pt>
                <c:pt idx="1793">
                  <c:v>52.95</c:v>
                </c:pt>
                <c:pt idx="1794">
                  <c:v>52.74</c:v>
                </c:pt>
                <c:pt idx="1795">
                  <c:v>57.69</c:v>
                </c:pt>
                <c:pt idx="1796">
                  <c:v>46.01</c:v>
                </c:pt>
                <c:pt idx="1797">
                  <c:v>41.11</c:v>
                </c:pt>
                <c:pt idx="1798">
                  <c:v>51.26</c:v>
                </c:pt>
                <c:pt idx="1799">
                  <c:v>47.38</c:v>
                </c:pt>
                <c:pt idx="1800">
                  <c:v>54.86</c:v>
                </c:pt>
                <c:pt idx="1801">
                  <c:v>53.9</c:v>
                </c:pt>
                <c:pt idx="1802">
                  <c:v>52.9</c:v>
                </c:pt>
                <c:pt idx="1803">
                  <c:v>50.12</c:v>
                </c:pt>
                <c:pt idx="1804">
                  <c:v>35.08</c:v>
                </c:pt>
                <c:pt idx="1805">
                  <c:v>52.95</c:v>
                </c:pt>
                <c:pt idx="1806">
                  <c:v>60.32</c:v>
                </c:pt>
                <c:pt idx="1807">
                  <c:v>72.069999999999993</c:v>
                </c:pt>
                <c:pt idx="1808">
                  <c:v>65.44</c:v>
                </c:pt>
                <c:pt idx="1809">
                  <c:v>49.35</c:v>
                </c:pt>
                <c:pt idx="1810">
                  <c:v>33.880000000000003</c:v>
                </c:pt>
                <c:pt idx="1811">
                  <c:v>33.24</c:v>
                </c:pt>
                <c:pt idx="1812">
                  <c:v>53.28</c:v>
                </c:pt>
                <c:pt idx="1813">
                  <c:v>55.24</c:v>
                </c:pt>
                <c:pt idx="1814">
                  <c:v>52.97</c:v>
                </c:pt>
                <c:pt idx="1815">
                  <c:v>46.73</c:v>
                </c:pt>
                <c:pt idx="1816">
                  <c:v>38.15</c:v>
                </c:pt>
                <c:pt idx="1817">
                  <c:v>37.36</c:v>
                </c:pt>
                <c:pt idx="1818">
                  <c:v>16.16</c:v>
                </c:pt>
                <c:pt idx="1819">
                  <c:v>16.600000000000001</c:v>
                </c:pt>
                <c:pt idx="1820">
                  <c:v>-56.87</c:v>
                </c:pt>
                <c:pt idx="1821">
                  <c:v>-45.77</c:v>
                </c:pt>
                <c:pt idx="1822">
                  <c:v>20.45</c:v>
                </c:pt>
                <c:pt idx="1823">
                  <c:v>31.3</c:v>
                </c:pt>
                <c:pt idx="1824">
                  <c:v>16.68</c:v>
                </c:pt>
                <c:pt idx="1825">
                  <c:v>10.37</c:v>
                </c:pt>
                <c:pt idx="1826">
                  <c:v>8.4</c:v>
                </c:pt>
                <c:pt idx="1827">
                  <c:v>17.93</c:v>
                </c:pt>
                <c:pt idx="1828">
                  <c:v>38.24</c:v>
                </c:pt>
                <c:pt idx="1829">
                  <c:v>33.770000000000003</c:v>
                </c:pt>
                <c:pt idx="1830">
                  <c:v>32.119999999999997</c:v>
                </c:pt>
                <c:pt idx="1831">
                  <c:v>33.03</c:v>
                </c:pt>
                <c:pt idx="1832">
                  <c:v>29.01</c:v>
                </c:pt>
                <c:pt idx="1833">
                  <c:v>52.4</c:v>
                </c:pt>
                <c:pt idx="1834">
                  <c:v>53.15</c:v>
                </c:pt>
                <c:pt idx="1835">
                  <c:v>51.97</c:v>
                </c:pt>
                <c:pt idx="1836">
                  <c:v>50.03</c:v>
                </c:pt>
                <c:pt idx="1837">
                  <c:v>52.8</c:v>
                </c:pt>
                <c:pt idx="1838">
                  <c:v>44.52</c:v>
                </c:pt>
                <c:pt idx="1839">
                  <c:v>38.81</c:v>
                </c:pt>
                <c:pt idx="1840">
                  <c:v>52.05</c:v>
                </c:pt>
                <c:pt idx="1841">
                  <c:v>55.85</c:v>
                </c:pt>
                <c:pt idx="1842">
                  <c:v>54.96</c:v>
                </c:pt>
                <c:pt idx="1843">
                  <c:v>53.44</c:v>
                </c:pt>
                <c:pt idx="1844">
                  <c:v>50.99</c:v>
                </c:pt>
                <c:pt idx="1845">
                  <c:v>39.44</c:v>
                </c:pt>
                <c:pt idx="1846">
                  <c:v>34.67</c:v>
                </c:pt>
                <c:pt idx="1847">
                  <c:v>47.59</c:v>
                </c:pt>
                <c:pt idx="1848">
                  <c:v>53.96</c:v>
                </c:pt>
                <c:pt idx="1849">
                  <c:v>59.74</c:v>
                </c:pt>
                <c:pt idx="1850">
                  <c:v>59.25</c:v>
                </c:pt>
                <c:pt idx="1851">
                  <c:v>52.26</c:v>
                </c:pt>
                <c:pt idx="1852">
                  <c:v>36.840000000000003</c:v>
                </c:pt>
                <c:pt idx="1853">
                  <c:v>31.12</c:v>
                </c:pt>
                <c:pt idx="1854">
                  <c:v>44.9</c:v>
                </c:pt>
                <c:pt idx="1855">
                  <c:v>32.270000000000003</c:v>
                </c:pt>
                <c:pt idx="1856">
                  <c:v>29.35</c:v>
                </c:pt>
                <c:pt idx="1857">
                  <c:v>26.06</c:v>
                </c:pt>
                <c:pt idx="1858">
                  <c:v>34.979999999999997</c:v>
                </c:pt>
                <c:pt idx="1859">
                  <c:v>35.53</c:v>
                </c:pt>
                <c:pt idx="1860">
                  <c:v>28.8</c:v>
                </c:pt>
                <c:pt idx="1861">
                  <c:v>32.35</c:v>
                </c:pt>
                <c:pt idx="1862">
                  <c:v>32.32</c:v>
                </c:pt>
                <c:pt idx="1863">
                  <c:v>46.83</c:v>
                </c:pt>
                <c:pt idx="1864">
                  <c:v>50.87</c:v>
                </c:pt>
                <c:pt idx="1865">
                  <c:v>49.44</c:v>
                </c:pt>
                <c:pt idx="1866">
                  <c:v>40.72</c:v>
                </c:pt>
                <c:pt idx="1867">
                  <c:v>35.03</c:v>
                </c:pt>
                <c:pt idx="1868">
                  <c:v>40.96</c:v>
                </c:pt>
                <c:pt idx="1869">
                  <c:v>49.46</c:v>
                </c:pt>
                <c:pt idx="1870">
                  <c:v>52.68</c:v>
                </c:pt>
                <c:pt idx="1871">
                  <c:v>46.66</c:v>
                </c:pt>
                <c:pt idx="1872">
                  <c:v>50.96</c:v>
                </c:pt>
                <c:pt idx="1873">
                  <c:v>41.29</c:v>
                </c:pt>
                <c:pt idx="1874">
                  <c:v>38.44</c:v>
                </c:pt>
                <c:pt idx="1875">
                  <c:v>53.53</c:v>
                </c:pt>
                <c:pt idx="1876">
                  <c:v>48.55</c:v>
                </c:pt>
                <c:pt idx="1877">
                  <c:v>46.19</c:v>
                </c:pt>
                <c:pt idx="1878">
                  <c:v>52.85</c:v>
                </c:pt>
                <c:pt idx="1879">
                  <c:v>47.95</c:v>
                </c:pt>
                <c:pt idx="1880">
                  <c:v>37.317900000000002</c:v>
                </c:pt>
                <c:pt idx="1881">
                  <c:v>33.75</c:v>
                </c:pt>
                <c:pt idx="1882">
                  <c:v>52.68</c:v>
                </c:pt>
                <c:pt idx="1883">
                  <c:v>55.49</c:v>
                </c:pt>
                <c:pt idx="1884">
                  <c:v>59.67</c:v>
                </c:pt>
                <c:pt idx="1885">
                  <c:v>53.96</c:v>
                </c:pt>
                <c:pt idx="1886">
                  <c:v>51.05</c:v>
                </c:pt>
                <c:pt idx="1887">
                  <c:v>42.29</c:v>
                </c:pt>
                <c:pt idx="1888">
                  <c:v>38.35</c:v>
                </c:pt>
                <c:pt idx="1889">
                  <c:v>48.9</c:v>
                </c:pt>
                <c:pt idx="1890">
                  <c:v>41.59</c:v>
                </c:pt>
                <c:pt idx="1891">
                  <c:v>49</c:v>
                </c:pt>
                <c:pt idx="1892">
                  <c:v>41.46</c:v>
                </c:pt>
                <c:pt idx="1893">
                  <c:v>36.24</c:v>
                </c:pt>
                <c:pt idx="1894">
                  <c:v>30.45</c:v>
                </c:pt>
                <c:pt idx="1895">
                  <c:v>18.57</c:v>
                </c:pt>
                <c:pt idx="1896">
                  <c:v>37.869999999999997</c:v>
                </c:pt>
                <c:pt idx="1897">
                  <c:v>46.53</c:v>
                </c:pt>
                <c:pt idx="1898">
                  <c:v>55.34</c:v>
                </c:pt>
                <c:pt idx="1899">
                  <c:v>53.34</c:v>
                </c:pt>
                <c:pt idx="1900">
                  <c:v>44.31</c:v>
                </c:pt>
                <c:pt idx="1901">
                  <c:v>27.89</c:v>
                </c:pt>
                <c:pt idx="1902">
                  <c:v>10.83</c:v>
                </c:pt>
                <c:pt idx="1903">
                  <c:v>36.590000000000003</c:v>
                </c:pt>
                <c:pt idx="1904">
                  <c:v>43.706200000000003</c:v>
                </c:pt>
                <c:pt idx="1905">
                  <c:v>50.36</c:v>
                </c:pt>
                <c:pt idx="1906">
                  <c:v>55.57</c:v>
                </c:pt>
                <c:pt idx="1907">
                  <c:v>38.94</c:v>
                </c:pt>
                <c:pt idx="1908">
                  <c:v>21.17</c:v>
                </c:pt>
                <c:pt idx="1909">
                  <c:v>12.7</c:v>
                </c:pt>
                <c:pt idx="1910">
                  <c:v>34.340000000000003</c:v>
                </c:pt>
                <c:pt idx="1911">
                  <c:v>38.61</c:v>
                </c:pt>
                <c:pt idx="1912">
                  <c:v>47.03</c:v>
                </c:pt>
                <c:pt idx="1913">
                  <c:v>49.27</c:v>
                </c:pt>
                <c:pt idx="1914">
                  <c:v>38.74</c:v>
                </c:pt>
                <c:pt idx="1915">
                  <c:v>38.96</c:v>
                </c:pt>
                <c:pt idx="1916">
                  <c:v>32.24</c:v>
                </c:pt>
                <c:pt idx="1917">
                  <c:v>24.89</c:v>
                </c:pt>
                <c:pt idx="1918">
                  <c:v>49.05</c:v>
                </c:pt>
                <c:pt idx="1919">
                  <c:v>40.07</c:v>
                </c:pt>
                <c:pt idx="1920">
                  <c:v>48.11</c:v>
                </c:pt>
                <c:pt idx="1921">
                  <c:v>53.45</c:v>
                </c:pt>
                <c:pt idx="1922">
                  <c:v>41.56</c:v>
                </c:pt>
                <c:pt idx="1923">
                  <c:v>40.340000000000003</c:v>
                </c:pt>
                <c:pt idx="1924">
                  <c:v>58.41</c:v>
                </c:pt>
                <c:pt idx="1925">
                  <c:v>55.97</c:v>
                </c:pt>
                <c:pt idx="1926">
                  <c:v>57.27</c:v>
                </c:pt>
                <c:pt idx="1927">
                  <c:v>55.39</c:v>
                </c:pt>
                <c:pt idx="1928">
                  <c:v>43.58</c:v>
                </c:pt>
                <c:pt idx="1929">
                  <c:v>28.38</c:v>
                </c:pt>
                <c:pt idx="1930">
                  <c:v>16.11</c:v>
                </c:pt>
                <c:pt idx="1931">
                  <c:v>39.85</c:v>
                </c:pt>
                <c:pt idx="1932">
                  <c:v>43.94</c:v>
                </c:pt>
                <c:pt idx="1933">
                  <c:v>38.26</c:v>
                </c:pt>
                <c:pt idx="1934">
                  <c:v>27.35</c:v>
                </c:pt>
                <c:pt idx="1935">
                  <c:v>31.23</c:v>
                </c:pt>
                <c:pt idx="1936">
                  <c:v>28.18</c:v>
                </c:pt>
                <c:pt idx="1937">
                  <c:v>16.39</c:v>
                </c:pt>
                <c:pt idx="1938">
                  <c:v>40.71</c:v>
                </c:pt>
                <c:pt idx="1939">
                  <c:v>32.5762</c:v>
                </c:pt>
                <c:pt idx="1940">
                  <c:v>37.69</c:v>
                </c:pt>
                <c:pt idx="1941">
                  <c:v>32.659999999999997</c:v>
                </c:pt>
                <c:pt idx="1942">
                  <c:v>34.130000000000003</c:v>
                </c:pt>
                <c:pt idx="1943">
                  <c:v>26.22</c:v>
                </c:pt>
                <c:pt idx="1944">
                  <c:v>23.37</c:v>
                </c:pt>
                <c:pt idx="1945">
                  <c:v>35.590000000000003</c:v>
                </c:pt>
                <c:pt idx="1946">
                  <c:v>36.799999999999997</c:v>
                </c:pt>
                <c:pt idx="1947">
                  <c:v>14.2</c:v>
                </c:pt>
                <c:pt idx="1948">
                  <c:v>32.979999999999997</c:v>
                </c:pt>
                <c:pt idx="1949">
                  <c:v>35.14</c:v>
                </c:pt>
                <c:pt idx="1950">
                  <c:v>30.49</c:v>
                </c:pt>
                <c:pt idx="1951">
                  <c:v>18.14</c:v>
                </c:pt>
                <c:pt idx="1952">
                  <c:v>39.880000000000003</c:v>
                </c:pt>
                <c:pt idx="1953">
                  <c:v>35.72</c:v>
                </c:pt>
                <c:pt idx="1954">
                  <c:v>33.119999999999997</c:v>
                </c:pt>
                <c:pt idx="1955">
                  <c:v>24.08</c:v>
                </c:pt>
                <c:pt idx="1956">
                  <c:v>31.58</c:v>
                </c:pt>
                <c:pt idx="1957">
                  <c:v>19.53</c:v>
                </c:pt>
                <c:pt idx="1958">
                  <c:v>11.49</c:v>
                </c:pt>
                <c:pt idx="1959">
                  <c:v>33.9</c:v>
                </c:pt>
                <c:pt idx="1960">
                  <c:v>34.979999999999997</c:v>
                </c:pt>
                <c:pt idx="1961">
                  <c:v>32.93</c:v>
                </c:pt>
                <c:pt idx="1962">
                  <c:v>35.729999999999997</c:v>
                </c:pt>
                <c:pt idx="1963">
                  <c:v>36.56</c:v>
                </c:pt>
                <c:pt idx="1964">
                  <c:v>23.61</c:v>
                </c:pt>
                <c:pt idx="1965">
                  <c:v>14.24</c:v>
                </c:pt>
                <c:pt idx="1966">
                  <c:v>27.97</c:v>
                </c:pt>
                <c:pt idx="1967">
                  <c:v>43.01</c:v>
                </c:pt>
                <c:pt idx="1968">
                  <c:v>34.245800000000003</c:v>
                </c:pt>
                <c:pt idx="1969">
                  <c:v>45.59</c:v>
                </c:pt>
                <c:pt idx="1970">
                  <c:v>47.04</c:v>
                </c:pt>
                <c:pt idx="1971">
                  <c:v>32.51</c:v>
                </c:pt>
                <c:pt idx="1972">
                  <c:v>21.08</c:v>
                </c:pt>
                <c:pt idx="1973">
                  <c:v>43.48</c:v>
                </c:pt>
                <c:pt idx="1974">
                  <c:v>42.2</c:v>
                </c:pt>
                <c:pt idx="1975">
                  <c:v>49.8</c:v>
                </c:pt>
                <c:pt idx="1976">
                  <c:v>36.53</c:v>
                </c:pt>
                <c:pt idx="1977">
                  <c:v>32.22</c:v>
                </c:pt>
                <c:pt idx="1978">
                  <c:v>29.44</c:v>
                </c:pt>
                <c:pt idx="1979">
                  <c:v>9.26</c:v>
                </c:pt>
                <c:pt idx="1980">
                  <c:v>31.07</c:v>
                </c:pt>
                <c:pt idx="1981">
                  <c:v>39</c:v>
                </c:pt>
                <c:pt idx="1982">
                  <c:v>37.69</c:v>
                </c:pt>
                <c:pt idx="1983">
                  <c:v>35.99</c:v>
                </c:pt>
                <c:pt idx="1984">
                  <c:v>33.81</c:v>
                </c:pt>
                <c:pt idx="1985">
                  <c:v>26.38</c:v>
                </c:pt>
                <c:pt idx="1986">
                  <c:v>14.42</c:v>
                </c:pt>
                <c:pt idx="1987">
                  <c:v>30.27</c:v>
                </c:pt>
                <c:pt idx="1988">
                  <c:v>31.82</c:v>
                </c:pt>
                <c:pt idx="1989">
                  <c:v>31.13</c:v>
                </c:pt>
                <c:pt idx="1990">
                  <c:v>29.08</c:v>
                </c:pt>
                <c:pt idx="1991">
                  <c:v>29.16</c:v>
                </c:pt>
                <c:pt idx="1992">
                  <c:v>15.44</c:v>
                </c:pt>
                <c:pt idx="1993">
                  <c:v>-3.33</c:v>
                </c:pt>
                <c:pt idx="1994">
                  <c:v>37.049999999999997</c:v>
                </c:pt>
                <c:pt idx="1995">
                  <c:v>33.42</c:v>
                </c:pt>
                <c:pt idx="1996">
                  <c:v>34.49</c:v>
                </c:pt>
                <c:pt idx="1997">
                  <c:v>37.64</c:v>
                </c:pt>
                <c:pt idx="1998">
                  <c:v>30.34</c:v>
                </c:pt>
                <c:pt idx="1999">
                  <c:v>15.92</c:v>
                </c:pt>
                <c:pt idx="2000">
                  <c:v>11.82</c:v>
                </c:pt>
                <c:pt idx="2001">
                  <c:v>33.520000000000003</c:v>
                </c:pt>
                <c:pt idx="2002">
                  <c:v>34.049999999999997</c:v>
                </c:pt>
                <c:pt idx="2003">
                  <c:v>29.7</c:v>
                </c:pt>
                <c:pt idx="2004">
                  <c:v>38</c:v>
                </c:pt>
                <c:pt idx="2005">
                  <c:v>33.590000000000003</c:v>
                </c:pt>
                <c:pt idx="2006">
                  <c:v>27.96</c:v>
                </c:pt>
                <c:pt idx="2007">
                  <c:v>16.54</c:v>
                </c:pt>
                <c:pt idx="2008">
                  <c:v>31.69</c:v>
                </c:pt>
                <c:pt idx="2009">
                  <c:v>37.590000000000003</c:v>
                </c:pt>
                <c:pt idx="2010">
                  <c:v>40.409999999999997</c:v>
                </c:pt>
                <c:pt idx="2011">
                  <c:v>41.2</c:v>
                </c:pt>
                <c:pt idx="2012">
                  <c:v>34.409999999999997</c:v>
                </c:pt>
                <c:pt idx="2013">
                  <c:v>26.24</c:v>
                </c:pt>
                <c:pt idx="2014">
                  <c:v>18.559999999999999</c:v>
                </c:pt>
                <c:pt idx="2015">
                  <c:v>33.04</c:v>
                </c:pt>
                <c:pt idx="2016">
                  <c:v>36.590000000000003</c:v>
                </c:pt>
                <c:pt idx="2017">
                  <c:v>33.06</c:v>
                </c:pt>
                <c:pt idx="2018">
                  <c:v>37.1</c:v>
                </c:pt>
                <c:pt idx="2019">
                  <c:v>35.14</c:v>
                </c:pt>
                <c:pt idx="2020">
                  <c:v>31.94</c:v>
                </c:pt>
                <c:pt idx="2021">
                  <c:v>20.3</c:v>
                </c:pt>
                <c:pt idx="2022">
                  <c:v>38.270000000000003</c:v>
                </c:pt>
                <c:pt idx="2023">
                  <c:v>41.72</c:v>
                </c:pt>
                <c:pt idx="2024">
                  <c:v>46.86</c:v>
                </c:pt>
                <c:pt idx="2025">
                  <c:v>44.19</c:v>
                </c:pt>
                <c:pt idx="2026">
                  <c:v>37.03</c:v>
                </c:pt>
                <c:pt idx="2027">
                  <c:v>31.62</c:v>
                </c:pt>
                <c:pt idx="2028">
                  <c:v>25.86</c:v>
                </c:pt>
                <c:pt idx="2029">
                  <c:v>42.46</c:v>
                </c:pt>
                <c:pt idx="2030">
                  <c:v>46.88</c:v>
                </c:pt>
                <c:pt idx="2031">
                  <c:v>51.02</c:v>
                </c:pt>
                <c:pt idx="2032">
                  <c:v>50.51</c:v>
                </c:pt>
                <c:pt idx="2033">
                  <c:v>43</c:v>
                </c:pt>
                <c:pt idx="2034">
                  <c:v>33.229999999999997</c:v>
                </c:pt>
                <c:pt idx="2035">
                  <c:v>22.51</c:v>
                </c:pt>
                <c:pt idx="2036">
                  <c:v>45.59</c:v>
                </c:pt>
                <c:pt idx="2037">
                  <c:v>37.200000000000003</c:v>
                </c:pt>
                <c:pt idx="2038">
                  <c:v>33.909999999999997</c:v>
                </c:pt>
                <c:pt idx="2039">
                  <c:v>39.86</c:v>
                </c:pt>
                <c:pt idx="2040">
                  <c:v>36.68</c:v>
                </c:pt>
                <c:pt idx="2041">
                  <c:v>30.91</c:v>
                </c:pt>
                <c:pt idx="2042">
                  <c:v>30.52</c:v>
                </c:pt>
                <c:pt idx="2043">
                  <c:v>43.75</c:v>
                </c:pt>
                <c:pt idx="2044">
                  <c:v>37</c:v>
                </c:pt>
                <c:pt idx="2045">
                  <c:v>39.4</c:v>
                </c:pt>
                <c:pt idx="2046">
                  <c:v>37.770000000000003</c:v>
                </c:pt>
                <c:pt idx="2047">
                  <c:v>39.94</c:v>
                </c:pt>
                <c:pt idx="2048">
                  <c:v>29.23</c:v>
                </c:pt>
                <c:pt idx="2049">
                  <c:v>18.399999999999999</c:v>
                </c:pt>
                <c:pt idx="2050">
                  <c:v>36.700000000000003</c:v>
                </c:pt>
                <c:pt idx="2051">
                  <c:v>36.75</c:v>
                </c:pt>
                <c:pt idx="2052">
                  <c:v>32.869999999999997</c:v>
                </c:pt>
                <c:pt idx="2053">
                  <c:v>32.770000000000003</c:v>
                </c:pt>
                <c:pt idx="2054">
                  <c:v>36.58</c:v>
                </c:pt>
                <c:pt idx="2055">
                  <c:v>32.049999999999997</c:v>
                </c:pt>
                <c:pt idx="2056">
                  <c:v>23.24</c:v>
                </c:pt>
                <c:pt idx="2057">
                  <c:v>56.14</c:v>
                </c:pt>
                <c:pt idx="2058">
                  <c:v>43.27</c:v>
                </c:pt>
                <c:pt idx="2059">
                  <c:v>44.31</c:v>
                </c:pt>
                <c:pt idx="2060">
                  <c:v>47.15</c:v>
                </c:pt>
                <c:pt idx="2061">
                  <c:v>45.94</c:v>
                </c:pt>
                <c:pt idx="2062">
                  <c:v>30.3</c:v>
                </c:pt>
                <c:pt idx="2063">
                  <c:v>26.02</c:v>
                </c:pt>
                <c:pt idx="2064">
                  <c:v>44.06</c:v>
                </c:pt>
                <c:pt idx="2065">
                  <c:v>50.02</c:v>
                </c:pt>
                <c:pt idx="2066">
                  <c:v>52.7</c:v>
                </c:pt>
                <c:pt idx="2067">
                  <c:v>53.09</c:v>
                </c:pt>
                <c:pt idx="2068">
                  <c:v>45.2</c:v>
                </c:pt>
                <c:pt idx="2069">
                  <c:v>32.65</c:v>
                </c:pt>
                <c:pt idx="2070">
                  <c:v>27.36</c:v>
                </c:pt>
                <c:pt idx="2071">
                  <c:v>32.86</c:v>
                </c:pt>
                <c:pt idx="2072">
                  <c:v>49.12</c:v>
                </c:pt>
                <c:pt idx="2073">
                  <c:v>53.07</c:v>
                </c:pt>
                <c:pt idx="2074">
                  <c:v>46.05</c:v>
                </c:pt>
                <c:pt idx="2075">
                  <c:v>39.43</c:v>
                </c:pt>
                <c:pt idx="2076">
                  <c:v>37.31</c:v>
                </c:pt>
                <c:pt idx="2077">
                  <c:v>30.24</c:v>
                </c:pt>
                <c:pt idx="2078">
                  <c:v>47</c:v>
                </c:pt>
                <c:pt idx="2079">
                  <c:v>47.89</c:v>
                </c:pt>
                <c:pt idx="2080">
                  <c:v>48.23</c:v>
                </c:pt>
                <c:pt idx="2081">
                  <c:v>50.29</c:v>
                </c:pt>
                <c:pt idx="2082">
                  <c:v>48.65</c:v>
                </c:pt>
                <c:pt idx="2083">
                  <c:v>35.43</c:v>
                </c:pt>
                <c:pt idx="2084">
                  <c:v>27.36</c:v>
                </c:pt>
                <c:pt idx="2085">
                  <c:v>41.22</c:v>
                </c:pt>
                <c:pt idx="2086">
                  <c:v>36.46</c:v>
                </c:pt>
                <c:pt idx="2087">
                  <c:v>46.96</c:v>
                </c:pt>
                <c:pt idx="2088">
                  <c:v>47.5</c:v>
                </c:pt>
                <c:pt idx="2089">
                  <c:v>50.24</c:v>
                </c:pt>
                <c:pt idx="2090">
                  <c:v>36.200000000000003</c:v>
                </c:pt>
                <c:pt idx="2091">
                  <c:v>26.28</c:v>
                </c:pt>
                <c:pt idx="2092">
                  <c:v>39.700000000000003</c:v>
                </c:pt>
                <c:pt idx="2093">
                  <c:v>51.57</c:v>
                </c:pt>
                <c:pt idx="2094">
                  <c:v>54.96</c:v>
                </c:pt>
                <c:pt idx="2095">
                  <c:v>54.33</c:v>
                </c:pt>
                <c:pt idx="2096">
                  <c:v>52.53</c:v>
                </c:pt>
                <c:pt idx="2097">
                  <c:v>37.18</c:v>
                </c:pt>
                <c:pt idx="2098">
                  <c:v>19.18</c:v>
                </c:pt>
                <c:pt idx="2099">
                  <c:v>36.79</c:v>
                </c:pt>
                <c:pt idx="2100">
                  <c:v>48.4</c:v>
                </c:pt>
                <c:pt idx="2101">
                  <c:v>37.18</c:v>
                </c:pt>
                <c:pt idx="2102">
                  <c:v>28.55</c:v>
                </c:pt>
                <c:pt idx="2103">
                  <c:v>38.42</c:v>
                </c:pt>
                <c:pt idx="2104">
                  <c:v>35.76</c:v>
                </c:pt>
                <c:pt idx="2105">
                  <c:v>33.49</c:v>
                </c:pt>
                <c:pt idx="2106">
                  <c:v>55</c:v>
                </c:pt>
                <c:pt idx="2107">
                  <c:v>52.15</c:v>
                </c:pt>
                <c:pt idx="2108">
                  <c:v>52.82</c:v>
                </c:pt>
                <c:pt idx="2109">
                  <c:v>53.82</c:v>
                </c:pt>
                <c:pt idx="2110">
                  <c:v>40.840000000000003</c:v>
                </c:pt>
                <c:pt idx="2111">
                  <c:v>35.36</c:v>
                </c:pt>
                <c:pt idx="2112">
                  <c:v>31.14</c:v>
                </c:pt>
                <c:pt idx="2113">
                  <c:v>43.68</c:v>
                </c:pt>
                <c:pt idx="2114">
                  <c:v>49.3</c:v>
                </c:pt>
                <c:pt idx="2115">
                  <c:v>50.29</c:v>
                </c:pt>
                <c:pt idx="2116">
                  <c:v>31.57</c:v>
                </c:pt>
                <c:pt idx="2117">
                  <c:v>37.130000000000003</c:v>
                </c:pt>
                <c:pt idx="2118">
                  <c:v>28.58</c:v>
                </c:pt>
                <c:pt idx="2119">
                  <c:v>24.41</c:v>
                </c:pt>
                <c:pt idx="2120">
                  <c:v>44.5</c:v>
                </c:pt>
                <c:pt idx="2121">
                  <c:v>37.79</c:v>
                </c:pt>
                <c:pt idx="2122">
                  <c:v>32.799999999999997</c:v>
                </c:pt>
                <c:pt idx="2123">
                  <c:v>40.299999999999997</c:v>
                </c:pt>
                <c:pt idx="2124">
                  <c:v>39.32</c:v>
                </c:pt>
                <c:pt idx="2125">
                  <c:v>28.99</c:v>
                </c:pt>
                <c:pt idx="2126">
                  <c:v>11.89</c:v>
                </c:pt>
                <c:pt idx="2127">
                  <c:v>19.899999999999999</c:v>
                </c:pt>
                <c:pt idx="2128">
                  <c:v>30.5</c:v>
                </c:pt>
                <c:pt idx="2129">
                  <c:v>38.76</c:v>
                </c:pt>
                <c:pt idx="2130">
                  <c:v>36.549999999999997</c:v>
                </c:pt>
                <c:pt idx="2131">
                  <c:v>32.619999999999997</c:v>
                </c:pt>
                <c:pt idx="2132">
                  <c:v>28.86</c:v>
                </c:pt>
                <c:pt idx="2133">
                  <c:v>11.32</c:v>
                </c:pt>
                <c:pt idx="2134">
                  <c:v>28.35</c:v>
                </c:pt>
                <c:pt idx="2135">
                  <c:v>35.950000000000003</c:v>
                </c:pt>
                <c:pt idx="2136">
                  <c:v>32.03</c:v>
                </c:pt>
                <c:pt idx="2137">
                  <c:v>35.28</c:v>
                </c:pt>
                <c:pt idx="2138">
                  <c:v>46.01</c:v>
                </c:pt>
                <c:pt idx="2139">
                  <c:v>23.96</c:v>
                </c:pt>
                <c:pt idx="2140">
                  <c:v>22.6</c:v>
                </c:pt>
                <c:pt idx="2141">
                  <c:v>40.659999999999997</c:v>
                </c:pt>
                <c:pt idx="2142">
                  <c:v>47.15</c:v>
                </c:pt>
                <c:pt idx="2143">
                  <c:v>47.48</c:v>
                </c:pt>
                <c:pt idx="2144">
                  <c:v>48.86</c:v>
                </c:pt>
                <c:pt idx="2145">
                  <c:v>47.33</c:v>
                </c:pt>
                <c:pt idx="2146">
                  <c:v>35.03</c:v>
                </c:pt>
                <c:pt idx="2147">
                  <c:v>36.270000000000003</c:v>
                </c:pt>
                <c:pt idx="2148">
                  <c:v>44.88</c:v>
                </c:pt>
                <c:pt idx="2149">
                  <c:v>52.44</c:v>
                </c:pt>
                <c:pt idx="2150">
                  <c:v>49.53</c:v>
                </c:pt>
                <c:pt idx="2151">
                  <c:v>53.91</c:v>
                </c:pt>
                <c:pt idx="2152">
                  <c:v>48.94</c:v>
                </c:pt>
                <c:pt idx="2153">
                  <c:v>42.96</c:v>
                </c:pt>
                <c:pt idx="2154">
                  <c:v>30.03</c:v>
                </c:pt>
                <c:pt idx="2155">
                  <c:v>45.6</c:v>
                </c:pt>
                <c:pt idx="2156">
                  <c:v>54.39</c:v>
                </c:pt>
                <c:pt idx="2157">
                  <c:v>44.28</c:v>
                </c:pt>
                <c:pt idx="2158">
                  <c:v>39.11</c:v>
                </c:pt>
                <c:pt idx="2159">
                  <c:v>37.39</c:v>
                </c:pt>
                <c:pt idx="2160">
                  <c:v>33.25</c:v>
                </c:pt>
                <c:pt idx="2161">
                  <c:v>28.04</c:v>
                </c:pt>
                <c:pt idx="2162">
                  <c:v>57.47</c:v>
                </c:pt>
                <c:pt idx="2163">
                  <c:v>55.13</c:v>
                </c:pt>
                <c:pt idx="2164">
                  <c:v>47.88</c:v>
                </c:pt>
                <c:pt idx="2165">
                  <c:v>34.32</c:v>
                </c:pt>
                <c:pt idx="2166">
                  <c:v>30.79</c:v>
                </c:pt>
                <c:pt idx="2167">
                  <c:v>32.479999999999997</c:v>
                </c:pt>
                <c:pt idx="2168">
                  <c:v>32.29</c:v>
                </c:pt>
                <c:pt idx="2169">
                  <c:v>38.71</c:v>
                </c:pt>
                <c:pt idx="2170">
                  <c:v>62.02</c:v>
                </c:pt>
                <c:pt idx="2171">
                  <c:v>62.89</c:v>
                </c:pt>
                <c:pt idx="2172">
                  <c:v>61.91</c:v>
                </c:pt>
                <c:pt idx="2173">
                  <c:v>62.65</c:v>
                </c:pt>
                <c:pt idx="2174">
                  <c:v>36.78</c:v>
                </c:pt>
                <c:pt idx="2175">
                  <c:v>23.64</c:v>
                </c:pt>
                <c:pt idx="2176">
                  <c:v>36.68</c:v>
                </c:pt>
                <c:pt idx="2177">
                  <c:v>53.21</c:v>
                </c:pt>
                <c:pt idx="2178">
                  <c:v>46.2</c:v>
                </c:pt>
                <c:pt idx="2179">
                  <c:v>34.47</c:v>
                </c:pt>
                <c:pt idx="2180">
                  <c:v>37.46</c:v>
                </c:pt>
                <c:pt idx="2181">
                  <c:v>24.41</c:v>
                </c:pt>
                <c:pt idx="2182">
                  <c:v>3.64</c:v>
                </c:pt>
                <c:pt idx="2183">
                  <c:v>24.29</c:v>
                </c:pt>
                <c:pt idx="2184">
                  <c:v>-6.28</c:v>
                </c:pt>
                <c:pt idx="2185">
                  <c:v>23.7</c:v>
                </c:pt>
                <c:pt idx="2186">
                  <c:v>33.700000000000003</c:v>
                </c:pt>
                <c:pt idx="2187">
                  <c:v>23.09</c:v>
                </c:pt>
                <c:pt idx="2188">
                  <c:v>22.65</c:v>
                </c:pt>
                <c:pt idx="2189">
                  <c:v>27.77</c:v>
                </c:pt>
                <c:pt idx="2190">
                  <c:v>30.27</c:v>
                </c:pt>
                <c:pt idx="2191">
                  <c:v>25.98</c:v>
                </c:pt>
                <c:pt idx="2192">
                  <c:v>17.38</c:v>
                </c:pt>
                <c:pt idx="2193">
                  <c:v>27.93</c:v>
                </c:pt>
                <c:pt idx="2194">
                  <c:v>27.71</c:v>
                </c:pt>
                <c:pt idx="2195">
                  <c:v>25.37</c:v>
                </c:pt>
                <c:pt idx="2196">
                  <c:v>24.55</c:v>
                </c:pt>
                <c:pt idx="2197">
                  <c:v>22.17</c:v>
                </c:pt>
                <c:pt idx="2198">
                  <c:v>27.52</c:v>
                </c:pt>
                <c:pt idx="2199">
                  <c:v>33.49</c:v>
                </c:pt>
                <c:pt idx="2200">
                  <c:v>31.13</c:v>
                </c:pt>
                <c:pt idx="2201">
                  <c:v>28.31</c:v>
                </c:pt>
                <c:pt idx="2202">
                  <c:v>29.66</c:v>
                </c:pt>
                <c:pt idx="2203">
                  <c:v>19.59</c:v>
                </c:pt>
                <c:pt idx="2204">
                  <c:v>41.94</c:v>
                </c:pt>
                <c:pt idx="2205">
                  <c:v>49.35</c:v>
                </c:pt>
                <c:pt idx="2206">
                  <c:v>45.69</c:v>
                </c:pt>
                <c:pt idx="2207">
                  <c:v>40.75</c:v>
                </c:pt>
                <c:pt idx="2208">
                  <c:v>39.58</c:v>
                </c:pt>
                <c:pt idx="2209">
                  <c:v>31.87</c:v>
                </c:pt>
                <c:pt idx="2210">
                  <c:v>24.69</c:v>
                </c:pt>
                <c:pt idx="2211">
                  <c:v>48.52</c:v>
                </c:pt>
                <c:pt idx="2212">
                  <c:v>49.51</c:v>
                </c:pt>
                <c:pt idx="2213">
                  <c:v>52.68</c:v>
                </c:pt>
                <c:pt idx="2214">
                  <c:v>48.01</c:v>
                </c:pt>
                <c:pt idx="2215">
                  <c:v>50.21</c:v>
                </c:pt>
                <c:pt idx="2216">
                  <c:v>35.32</c:v>
                </c:pt>
                <c:pt idx="2217">
                  <c:v>27.78</c:v>
                </c:pt>
                <c:pt idx="2218">
                  <c:v>38.94</c:v>
                </c:pt>
                <c:pt idx="2219">
                  <c:v>43.2</c:v>
                </c:pt>
                <c:pt idx="2220">
                  <c:v>39.659999999999997</c:v>
                </c:pt>
                <c:pt idx="2221">
                  <c:v>43.75</c:v>
                </c:pt>
                <c:pt idx="2222">
                  <c:v>45.85</c:v>
                </c:pt>
                <c:pt idx="2223">
                  <c:v>30.36</c:v>
                </c:pt>
                <c:pt idx="2224">
                  <c:v>27.63</c:v>
                </c:pt>
                <c:pt idx="2225">
                  <c:v>46.77</c:v>
                </c:pt>
                <c:pt idx="2226">
                  <c:v>43.85</c:v>
                </c:pt>
                <c:pt idx="2227">
                  <c:v>35.979999999999997</c:v>
                </c:pt>
                <c:pt idx="2228">
                  <c:v>35.880000000000003</c:v>
                </c:pt>
                <c:pt idx="2229">
                  <c:v>28.85</c:v>
                </c:pt>
                <c:pt idx="2230">
                  <c:v>27.68</c:v>
                </c:pt>
                <c:pt idx="2231">
                  <c:v>18.649999999999999</c:v>
                </c:pt>
                <c:pt idx="2232">
                  <c:v>40.729999999999997</c:v>
                </c:pt>
                <c:pt idx="2233">
                  <c:v>38.5</c:v>
                </c:pt>
                <c:pt idx="2234">
                  <c:v>34.32</c:v>
                </c:pt>
                <c:pt idx="2235">
                  <c:v>32.950000000000003</c:v>
                </c:pt>
                <c:pt idx="2236">
                  <c:v>34.5</c:v>
                </c:pt>
                <c:pt idx="2237">
                  <c:v>17.27</c:v>
                </c:pt>
                <c:pt idx="2238">
                  <c:v>14.72</c:v>
                </c:pt>
                <c:pt idx="2239">
                  <c:v>38.86</c:v>
                </c:pt>
                <c:pt idx="2240">
                  <c:v>40.75</c:v>
                </c:pt>
                <c:pt idx="2241">
                  <c:v>43.94</c:v>
                </c:pt>
                <c:pt idx="2242">
                  <c:v>34.93</c:v>
                </c:pt>
                <c:pt idx="2243">
                  <c:v>34.56</c:v>
                </c:pt>
                <c:pt idx="2244">
                  <c:v>28.36</c:v>
                </c:pt>
                <c:pt idx="2245">
                  <c:v>20.9</c:v>
                </c:pt>
                <c:pt idx="2246">
                  <c:v>30.54</c:v>
                </c:pt>
                <c:pt idx="2247">
                  <c:v>34.56</c:v>
                </c:pt>
                <c:pt idx="2248">
                  <c:v>41.34</c:v>
                </c:pt>
                <c:pt idx="2249">
                  <c:v>41.72</c:v>
                </c:pt>
                <c:pt idx="2250">
                  <c:v>41.35</c:v>
                </c:pt>
                <c:pt idx="2251">
                  <c:v>33.58</c:v>
                </c:pt>
                <c:pt idx="2252">
                  <c:v>29.11</c:v>
                </c:pt>
                <c:pt idx="2253">
                  <c:v>38</c:v>
                </c:pt>
                <c:pt idx="2254">
                  <c:v>46.83</c:v>
                </c:pt>
                <c:pt idx="2255">
                  <c:v>42.69</c:v>
                </c:pt>
                <c:pt idx="2256">
                  <c:v>39.92</c:v>
                </c:pt>
                <c:pt idx="2257">
                  <c:v>33.43</c:v>
                </c:pt>
                <c:pt idx="2258">
                  <c:v>27.82</c:v>
                </c:pt>
                <c:pt idx="2259">
                  <c:v>18.32</c:v>
                </c:pt>
                <c:pt idx="2260">
                  <c:v>34.51</c:v>
                </c:pt>
                <c:pt idx="2261">
                  <c:v>33.25</c:v>
                </c:pt>
                <c:pt idx="2262">
                  <c:v>35.85</c:v>
                </c:pt>
                <c:pt idx="2263">
                  <c:v>38.5</c:v>
                </c:pt>
                <c:pt idx="2264">
                  <c:v>34.947899999999997</c:v>
                </c:pt>
                <c:pt idx="2265">
                  <c:v>14.05</c:v>
                </c:pt>
                <c:pt idx="2266">
                  <c:v>-4.13</c:v>
                </c:pt>
                <c:pt idx="2267">
                  <c:v>26.72</c:v>
                </c:pt>
                <c:pt idx="2268">
                  <c:v>32.409999999999997</c:v>
                </c:pt>
                <c:pt idx="2269">
                  <c:v>25.01</c:v>
                </c:pt>
                <c:pt idx="2270">
                  <c:v>26.41</c:v>
                </c:pt>
                <c:pt idx="2271">
                  <c:v>27.66</c:v>
                </c:pt>
                <c:pt idx="2272">
                  <c:v>29.57</c:v>
                </c:pt>
                <c:pt idx="2273">
                  <c:v>26.5</c:v>
                </c:pt>
                <c:pt idx="2274">
                  <c:v>37.340000000000003</c:v>
                </c:pt>
                <c:pt idx="2275">
                  <c:v>38.590000000000003</c:v>
                </c:pt>
                <c:pt idx="2276">
                  <c:v>35.85</c:v>
                </c:pt>
                <c:pt idx="2277">
                  <c:v>33.159999999999997</c:v>
                </c:pt>
                <c:pt idx="2278">
                  <c:v>35.42</c:v>
                </c:pt>
                <c:pt idx="2279">
                  <c:v>29.32</c:v>
                </c:pt>
                <c:pt idx="2280">
                  <c:v>25.14</c:v>
                </c:pt>
                <c:pt idx="2281">
                  <c:v>36.56</c:v>
                </c:pt>
                <c:pt idx="2282">
                  <c:v>40</c:v>
                </c:pt>
                <c:pt idx="2283">
                  <c:v>38.65</c:v>
                </c:pt>
                <c:pt idx="2284">
                  <c:v>35.01</c:v>
                </c:pt>
                <c:pt idx="2285">
                  <c:v>32.94</c:v>
                </c:pt>
                <c:pt idx="2286">
                  <c:v>30.97</c:v>
                </c:pt>
                <c:pt idx="2287">
                  <c:v>25.44</c:v>
                </c:pt>
                <c:pt idx="2288">
                  <c:v>37.19</c:v>
                </c:pt>
                <c:pt idx="2289">
                  <c:v>27.36</c:v>
                </c:pt>
                <c:pt idx="2290">
                  <c:v>28.38</c:v>
                </c:pt>
                <c:pt idx="2291">
                  <c:v>40.15</c:v>
                </c:pt>
                <c:pt idx="2292">
                  <c:v>40.020000000000003</c:v>
                </c:pt>
                <c:pt idx="2293">
                  <c:v>27.75</c:v>
                </c:pt>
                <c:pt idx="2294">
                  <c:v>13.25</c:v>
                </c:pt>
                <c:pt idx="2295">
                  <c:v>23.9</c:v>
                </c:pt>
                <c:pt idx="2296">
                  <c:v>28.25</c:v>
                </c:pt>
                <c:pt idx="2297">
                  <c:v>34.97</c:v>
                </c:pt>
                <c:pt idx="2298">
                  <c:v>33.18</c:v>
                </c:pt>
                <c:pt idx="2299">
                  <c:v>28.51</c:v>
                </c:pt>
                <c:pt idx="2300">
                  <c:v>26.39</c:v>
                </c:pt>
                <c:pt idx="2301">
                  <c:v>15.16</c:v>
                </c:pt>
                <c:pt idx="2302">
                  <c:v>21.68</c:v>
                </c:pt>
                <c:pt idx="2303">
                  <c:v>36.69</c:v>
                </c:pt>
                <c:pt idx="2304">
                  <c:v>36.869999999999997</c:v>
                </c:pt>
                <c:pt idx="2305">
                  <c:v>37.01</c:v>
                </c:pt>
                <c:pt idx="2306">
                  <c:v>33</c:v>
                </c:pt>
                <c:pt idx="2307">
                  <c:v>32.11</c:v>
                </c:pt>
                <c:pt idx="2308">
                  <c:v>25.3</c:v>
                </c:pt>
                <c:pt idx="2309">
                  <c:v>41.02</c:v>
                </c:pt>
                <c:pt idx="2310">
                  <c:v>40.19</c:v>
                </c:pt>
                <c:pt idx="2311">
                  <c:v>36.15</c:v>
                </c:pt>
                <c:pt idx="2312">
                  <c:v>22.88</c:v>
                </c:pt>
                <c:pt idx="2313">
                  <c:v>29.26</c:v>
                </c:pt>
                <c:pt idx="2314">
                  <c:v>28.25</c:v>
                </c:pt>
                <c:pt idx="2315">
                  <c:v>17.850000000000001</c:v>
                </c:pt>
                <c:pt idx="2316">
                  <c:v>36.200000000000003</c:v>
                </c:pt>
                <c:pt idx="2317">
                  <c:v>32.35</c:v>
                </c:pt>
                <c:pt idx="2318">
                  <c:v>34.340000000000003</c:v>
                </c:pt>
                <c:pt idx="2319">
                  <c:v>31.34</c:v>
                </c:pt>
                <c:pt idx="2320">
                  <c:v>28.48</c:v>
                </c:pt>
                <c:pt idx="2321">
                  <c:v>21.98</c:v>
                </c:pt>
                <c:pt idx="2322">
                  <c:v>-2.16</c:v>
                </c:pt>
                <c:pt idx="2323">
                  <c:v>28.97</c:v>
                </c:pt>
                <c:pt idx="2324">
                  <c:v>39.89</c:v>
                </c:pt>
                <c:pt idx="2325">
                  <c:v>32.369999999999997</c:v>
                </c:pt>
                <c:pt idx="2326">
                  <c:v>37.68</c:v>
                </c:pt>
                <c:pt idx="2327">
                  <c:v>32.36</c:v>
                </c:pt>
                <c:pt idx="2328">
                  <c:v>29.05</c:v>
                </c:pt>
                <c:pt idx="2329">
                  <c:v>24.77</c:v>
                </c:pt>
                <c:pt idx="2330">
                  <c:v>40.28</c:v>
                </c:pt>
                <c:pt idx="2331">
                  <c:v>40.200000000000003</c:v>
                </c:pt>
                <c:pt idx="2332">
                  <c:v>38.56</c:v>
                </c:pt>
                <c:pt idx="2333">
                  <c:v>33.450000000000003</c:v>
                </c:pt>
                <c:pt idx="2334">
                  <c:v>39.85</c:v>
                </c:pt>
                <c:pt idx="2335">
                  <c:v>29.35</c:v>
                </c:pt>
                <c:pt idx="2336">
                  <c:v>22.48</c:v>
                </c:pt>
                <c:pt idx="2337">
                  <c:v>36.200000000000003</c:v>
                </c:pt>
                <c:pt idx="2338">
                  <c:v>37.450000000000003</c:v>
                </c:pt>
                <c:pt idx="2339">
                  <c:v>36.96</c:v>
                </c:pt>
                <c:pt idx="2340">
                  <c:v>29.1</c:v>
                </c:pt>
                <c:pt idx="2341">
                  <c:v>36.590000000000003</c:v>
                </c:pt>
                <c:pt idx="2342">
                  <c:v>23.09</c:v>
                </c:pt>
                <c:pt idx="2343">
                  <c:v>20.399999999999999</c:v>
                </c:pt>
                <c:pt idx="2344">
                  <c:v>37.03</c:v>
                </c:pt>
                <c:pt idx="2345">
                  <c:v>42.5</c:v>
                </c:pt>
                <c:pt idx="2346">
                  <c:v>38.799999999999997</c:v>
                </c:pt>
                <c:pt idx="2347">
                  <c:v>32.299999999999997</c:v>
                </c:pt>
                <c:pt idx="2348">
                  <c:v>31.19</c:v>
                </c:pt>
                <c:pt idx="2349">
                  <c:v>26.91</c:v>
                </c:pt>
                <c:pt idx="2350">
                  <c:v>21.76</c:v>
                </c:pt>
                <c:pt idx="2351">
                  <c:v>25.98</c:v>
                </c:pt>
                <c:pt idx="2352">
                  <c:v>33.42</c:v>
                </c:pt>
                <c:pt idx="2353">
                  <c:v>39.049999999999997</c:v>
                </c:pt>
                <c:pt idx="2354">
                  <c:v>37.880000000000003</c:v>
                </c:pt>
                <c:pt idx="2355">
                  <c:v>30.66</c:v>
                </c:pt>
                <c:pt idx="2356">
                  <c:v>24.22</c:v>
                </c:pt>
                <c:pt idx="2357">
                  <c:v>18.5</c:v>
                </c:pt>
                <c:pt idx="2358">
                  <c:v>32.39</c:v>
                </c:pt>
                <c:pt idx="2359">
                  <c:v>38.72</c:v>
                </c:pt>
                <c:pt idx="2360">
                  <c:v>34.96</c:v>
                </c:pt>
                <c:pt idx="2361">
                  <c:v>25.56</c:v>
                </c:pt>
                <c:pt idx="2362">
                  <c:v>28.89</c:v>
                </c:pt>
                <c:pt idx="2363">
                  <c:v>23.28</c:v>
                </c:pt>
                <c:pt idx="2364">
                  <c:v>18.190000000000001</c:v>
                </c:pt>
                <c:pt idx="2365">
                  <c:v>34.53</c:v>
                </c:pt>
                <c:pt idx="2366">
                  <c:v>39.68</c:v>
                </c:pt>
                <c:pt idx="2367">
                  <c:v>37.89</c:v>
                </c:pt>
                <c:pt idx="2368">
                  <c:v>39.729999999999997</c:v>
                </c:pt>
                <c:pt idx="2369">
                  <c:v>37.15</c:v>
                </c:pt>
                <c:pt idx="2370">
                  <c:v>31.4</c:v>
                </c:pt>
                <c:pt idx="2371">
                  <c:v>28</c:v>
                </c:pt>
                <c:pt idx="2372">
                  <c:v>34.71</c:v>
                </c:pt>
                <c:pt idx="2373">
                  <c:v>34.299999999999997</c:v>
                </c:pt>
                <c:pt idx="2374">
                  <c:v>34.75</c:v>
                </c:pt>
                <c:pt idx="2375">
                  <c:v>33.159999999999997</c:v>
                </c:pt>
                <c:pt idx="2376">
                  <c:v>31.9</c:v>
                </c:pt>
                <c:pt idx="2377">
                  <c:v>28.11</c:v>
                </c:pt>
                <c:pt idx="2378">
                  <c:v>22.53</c:v>
                </c:pt>
                <c:pt idx="2379">
                  <c:v>33.74</c:v>
                </c:pt>
                <c:pt idx="2380">
                  <c:v>34.020000000000003</c:v>
                </c:pt>
                <c:pt idx="2381">
                  <c:v>32.18</c:v>
                </c:pt>
                <c:pt idx="2382">
                  <c:v>31.61</c:v>
                </c:pt>
                <c:pt idx="2383">
                  <c:v>31.46</c:v>
                </c:pt>
                <c:pt idx="2384">
                  <c:v>29.46</c:v>
                </c:pt>
                <c:pt idx="2385">
                  <c:v>24.48</c:v>
                </c:pt>
                <c:pt idx="2386">
                  <c:v>31.94</c:v>
                </c:pt>
                <c:pt idx="2387">
                  <c:v>33.35</c:v>
                </c:pt>
                <c:pt idx="2388">
                  <c:v>35.590000000000003</c:v>
                </c:pt>
                <c:pt idx="2389">
                  <c:v>36.270000000000003</c:v>
                </c:pt>
                <c:pt idx="2390">
                  <c:v>35.94</c:v>
                </c:pt>
                <c:pt idx="2391">
                  <c:v>28.84</c:v>
                </c:pt>
                <c:pt idx="2392">
                  <c:v>22</c:v>
                </c:pt>
                <c:pt idx="2393">
                  <c:v>33.909999999999997</c:v>
                </c:pt>
                <c:pt idx="2394">
                  <c:v>33.72</c:v>
                </c:pt>
                <c:pt idx="2395">
                  <c:v>32.35</c:v>
                </c:pt>
                <c:pt idx="2396">
                  <c:v>34.28</c:v>
                </c:pt>
                <c:pt idx="2397">
                  <c:v>34.35</c:v>
                </c:pt>
                <c:pt idx="2398">
                  <c:v>31.47</c:v>
                </c:pt>
                <c:pt idx="2399">
                  <c:v>27.23</c:v>
                </c:pt>
                <c:pt idx="2400">
                  <c:v>36</c:v>
                </c:pt>
                <c:pt idx="2401">
                  <c:v>34.42</c:v>
                </c:pt>
                <c:pt idx="2402">
                  <c:v>32.729999999999997</c:v>
                </c:pt>
                <c:pt idx="2403">
                  <c:v>32.159999999999997</c:v>
                </c:pt>
                <c:pt idx="2404">
                  <c:v>32.590000000000003</c:v>
                </c:pt>
                <c:pt idx="2405">
                  <c:v>20.83</c:v>
                </c:pt>
                <c:pt idx="2406">
                  <c:v>17.68</c:v>
                </c:pt>
                <c:pt idx="2407">
                  <c:v>33.35</c:v>
                </c:pt>
                <c:pt idx="2408">
                  <c:v>33.590000000000003</c:v>
                </c:pt>
                <c:pt idx="2409">
                  <c:v>31</c:v>
                </c:pt>
                <c:pt idx="2410">
                  <c:v>32.25</c:v>
                </c:pt>
                <c:pt idx="2411">
                  <c:v>31.85</c:v>
                </c:pt>
                <c:pt idx="2412">
                  <c:v>21.63</c:v>
                </c:pt>
                <c:pt idx="2413">
                  <c:v>13.41</c:v>
                </c:pt>
                <c:pt idx="2414">
                  <c:v>23.39</c:v>
                </c:pt>
                <c:pt idx="2415">
                  <c:v>30.95</c:v>
                </c:pt>
                <c:pt idx="2416">
                  <c:v>35.61</c:v>
                </c:pt>
                <c:pt idx="2417">
                  <c:v>30.31</c:v>
                </c:pt>
                <c:pt idx="2418">
                  <c:v>29.52</c:v>
                </c:pt>
                <c:pt idx="2419">
                  <c:v>20.2</c:v>
                </c:pt>
                <c:pt idx="2420">
                  <c:v>-2.4</c:v>
                </c:pt>
                <c:pt idx="2421">
                  <c:v>21.58</c:v>
                </c:pt>
                <c:pt idx="2422">
                  <c:v>29.98</c:v>
                </c:pt>
                <c:pt idx="2423">
                  <c:v>31.03</c:v>
                </c:pt>
                <c:pt idx="2424">
                  <c:v>33.200000000000003</c:v>
                </c:pt>
                <c:pt idx="2425">
                  <c:v>31.74</c:v>
                </c:pt>
                <c:pt idx="2426">
                  <c:v>28.47</c:v>
                </c:pt>
                <c:pt idx="2427">
                  <c:v>18.23</c:v>
                </c:pt>
                <c:pt idx="2428">
                  <c:v>35.979999999999997</c:v>
                </c:pt>
                <c:pt idx="2429">
                  <c:v>40.270000000000003</c:v>
                </c:pt>
                <c:pt idx="2430">
                  <c:v>37.51</c:v>
                </c:pt>
                <c:pt idx="2431">
                  <c:v>35.99</c:v>
                </c:pt>
                <c:pt idx="2432">
                  <c:v>34.950000000000003</c:v>
                </c:pt>
                <c:pt idx="2433">
                  <c:v>27.59</c:v>
                </c:pt>
                <c:pt idx="2434">
                  <c:v>23.54</c:v>
                </c:pt>
                <c:pt idx="2435">
                  <c:v>33.61</c:v>
                </c:pt>
                <c:pt idx="2436">
                  <c:v>34.97</c:v>
                </c:pt>
                <c:pt idx="2437">
                  <c:v>31.46</c:v>
                </c:pt>
                <c:pt idx="2438">
                  <c:v>31.1</c:v>
                </c:pt>
                <c:pt idx="2439">
                  <c:v>35.42</c:v>
                </c:pt>
                <c:pt idx="2440">
                  <c:v>31.28</c:v>
                </c:pt>
                <c:pt idx="2441">
                  <c:v>27.79</c:v>
                </c:pt>
                <c:pt idx="2442">
                  <c:v>36.08</c:v>
                </c:pt>
                <c:pt idx="2443">
                  <c:v>38.31</c:v>
                </c:pt>
                <c:pt idx="2444">
                  <c:v>37.61</c:v>
                </c:pt>
                <c:pt idx="2445">
                  <c:v>38.51</c:v>
                </c:pt>
                <c:pt idx="2446">
                  <c:v>37.47</c:v>
                </c:pt>
                <c:pt idx="2447">
                  <c:v>30.02</c:v>
                </c:pt>
                <c:pt idx="2448">
                  <c:v>25.86</c:v>
                </c:pt>
                <c:pt idx="2449">
                  <c:v>37</c:v>
                </c:pt>
                <c:pt idx="2450">
                  <c:v>38.020000000000003</c:v>
                </c:pt>
                <c:pt idx="2451">
                  <c:v>33.61</c:v>
                </c:pt>
                <c:pt idx="2452">
                  <c:v>36.340000000000003</c:v>
                </c:pt>
                <c:pt idx="2453">
                  <c:v>41.15</c:v>
                </c:pt>
                <c:pt idx="2454">
                  <c:v>37.22</c:v>
                </c:pt>
                <c:pt idx="2455">
                  <c:v>28.9</c:v>
                </c:pt>
                <c:pt idx="2456">
                  <c:v>29.09</c:v>
                </c:pt>
                <c:pt idx="2457">
                  <c:v>39.880000000000003</c:v>
                </c:pt>
                <c:pt idx="2458">
                  <c:v>37.35</c:v>
                </c:pt>
                <c:pt idx="2459">
                  <c:v>36.39</c:v>
                </c:pt>
                <c:pt idx="2460">
                  <c:v>34.58</c:v>
                </c:pt>
                <c:pt idx="2461">
                  <c:v>32.36</c:v>
                </c:pt>
                <c:pt idx="2462">
                  <c:v>26.29</c:v>
                </c:pt>
                <c:pt idx="2463">
                  <c:v>40.74</c:v>
                </c:pt>
                <c:pt idx="2464">
                  <c:v>45.22</c:v>
                </c:pt>
                <c:pt idx="2465">
                  <c:v>48.19</c:v>
                </c:pt>
                <c:pt idx="2466">
                  <c:v>46.43</c:v>
                </c:pt>
                <c:pt idx="2467">
                  <c:v>31.8</c:v>
                </c:pt>
                <c:pt idx="2468">
                  <c:v>29.35</c:v>
                </c:pt>
                <c:pt idx="2469">
                  <c:v>31</c:v>
                </c:pt>
                <c:pt idx="2470">
                  <c:v>34.82</c:v>
                </c:pt>
                <c:pt idx="2471">
                  <c:v>29.8</c:v>
                </c:pt>
                <c:pt idx="2472">
                  <c:v>35.79</c:v>
                </c:pt>
                <c:pt idx="2473">
                  <c:v>32.6</c:v>
                </c:pt>
                <c:pt idx="2474">
                  <c:v>39.44</c:v>
                </c:pt>
                <c:pt idx="2475">
                  <c:v>34.44</c:v>
                </c:pt>
                <c:pt idx="2476">
                  <c:v>30.55</c:v>
                </c:pt>
                <c:pt idx="2477">
                  <c:v>37.549999999999997</c:v>
                </c:pt>
                <c:pt idx="2478">
                  <c:v>41.69</c:v>
                </c:pt>
                <c:pt idx="2479">
                  <c:v>42.72</c:v>
                </c:pt>
                <c:pt idx="2480">
                  <c:v>41.9</c:v>
                </c:pt>
                <c:pt idx="2481">
                  <c:v>40.299999999999997</c:v>
                </c:pt>
                <c:pt idx="2482">
                  <c:v>30.34</c:v>
                </c:pt>
                <c:pt idx="2483">
                  <c:v>14.75</c:v>
                </c:pt>
                <c:pt idx="2484">
                  <c:v>28.76</c:v>
                </c:pt>
                <c:pt idx="2485">
                  <c:v>32.130000000000003</c:v>
                </c:pt>
                <c:pt idx="2486">
                  <c:v>26.23</c:v>
                </c:pt>
                <c:pt idx="2487">
                  <c:v>40.92</c:v>
                </c:pt>
                <c:pt idx="2488">
                  <c:v>36.340000000000003</c:v>
                </c:pt>
                <c:pt idx="2489">
                  <c:v>31.79</c:v>
                </c:pt>
                <c:pt idx="2490">
                  <c:v>26.24</c:v>
                </c:pt>
                <c:pt idx="2491">
                  <c:v>33.1</c:v>
                </c:pt>
                <c:pt idx="2492">
                  <c:v>36.07</c:v>
                </c:pt>
                <c:pt idx="2493">
                  <c:v>43.3</c:v>
                </c:pt>
                <c:pt idx="2494">
                  <c:v>47.03</c:v>
                </c:pt>
                <c:pt idx="2495">
                  <c:v>37.17</c:v>
                </c:pt>
                <c:pt idx="2496">
                  <c:v>25.23</c:v>
                </c:pt>
                <c:pt idx="2497">
                  <c:v>16.72</c:v>
                </c:pt>
                <c:pt idx="2498">
                  <c:v>24.72</c:v>
                </c:pt>
                <c:pt idx="2499">
                  <c:v>32.65</c:v>
                </c:pt>
                <c:pt idx="2500">
                  <c:v>45.23</c:v>
                </c:pt>
                <c:pt idx="2501">
                  <c:v>49.15</c:v>
                </c:pt>
                <c:pt idx="2502">
                  <c:v>35.340000000000003</c:v>
                </c:pt>
                <c:pt idx="2503">
                  <c:v>27.82</c:v>
                </c:pt>
                <c:pt idx="2504">
                  <c:v>23.64</c:v>
                </c:pt>
                <c:pt idx="2505">
                  <c:v>40.78</c:v>
                </c:pt>
                <c:pt idx="2506">
                  <c:v>36.31</c:v>
                </c:pt>
                <c:pt idx="2507">
                  <c:v>40.380000000000003</c:v>
                </c:pt>
                <c:pt idx="2508">
                  <c:v>43.21</c:v>
                </c:pt>
                <c:pt idx="2509">
                  <c:v>36.57</c:v>
                </c:pt>
                <c:pt idx="2510">
                  <c:v>31.39</c:v>
                </c:pt>
                <c:pt idx="2511">
                  <c:v>26.31</c:v>
                </c:pt>
                <c:pt idx="2512">
                  <c:v>43.59</c:v>
                </c:pt>
                <c:pt idx="2513">
                  <c:v>46.09</c:v>
                </c:pt>
                <c:pt idx="2514">
                  <c:v>47.58</c:v>
                </c:pt>
                <c:pt idx="2515">
                  <c:v>46.6</c:v>
                </c:pt>
                <c:pt idx="2516">
                  <c:v>44.81</c:v>
                </c:pt>
                <c:pt idx="2517">
                  <c:v>34.369999999999997</c:v>
                </c:pt>
                <c:pt idx="2518">
                  <c:v>25.17</c:v>
                </c:pt>
                <c:pt idx="2519">
                  <c:v>40.03</c:v>
                </c:pt>
                <c:pt idx="2520">
                  <c:v>47.9</c:v>
                </c:pt>
                <c:pt idx="2521">
                  <c:v>43.51</c:v>
                </c:pt>
                <c:pt idx="2522">
                  <c:v>42.7</c:v>
                </c:pt>
                <c:pt idx="2523">
                  <c:v>31.33</c:v>
                </c:pt>
                <c:pt idx="2524">
                  <c:v>31.54</c:v>
                </c:pt>
                <c:pt idx="2525">
                  <c:v>30.51</c:v>
                </c:pt>
                <c:pt idx="2526">
                  <c:v>39.33</c:v>
                </c:pt>
                <c:pt idx="2527">
                  <c:v>51.49</c:v>
                </c:pt>
                <c:pt idx="2528">
                  <c:v>54.69</c:v>
                </c:pt>
                <c:pt idx="2529">
                  <c:v>55.48</c:v>
                </c:pt>
                <c:pt idx="2530">
                  <c:v>53.82</c:v>
                </c:pt>
                <c:pt idx="2531">
                  <c:v>42.88</c:v>
                </c:pt>
                <c:pt idx="2532">
                  <c:v>31.11</c:v>
                </c:pt>
                <c:pt idx="2533">
                  <c:v>41.6</c:v>
                </c:pt>
                <c:pt idx="2534">
                  <c:v>49.53</c:v>
                </c:pt>
                <c:pt idx="2535">
                  <c:v>33.01</c:v>
                </c:pt>
                <c:pt idx="2536">
                  <c:v>29.77</c:v>
                </c:pt>
                <c:pt idx="2537">
                  <c:v>29.91</c:v>
                </c:pt>
                <c:pt idx="2538">
                  <c:v>32.97</c:v>
                </c:pt>
                <c:pt idx="2539">
                  <c:v>34.119999999999997</c:v>
                </c:pt>
                <c:pt idx="2540">
                  <c:v>39.590000000000003</c:v>
                </c:pt>
                <c:pt idx="2541">
                  <c:v>45.75</c:v>
                </c:pt>
                <c:pt idx="2542">
                  <c:v>38.89</c:v>
                </c:pt>
                <c:pt idx="2543">
                  <c:v>29.59</c:v>
                </c:pt>
                <c:pt idx="2544">
                  <c:v>23.1</c:v>
                </c:pt>
                <c:pt idx="2545">
                  <c:v>6.78</c:v>
                </c:pt>
                <c:pt idx="2546">
                  <c:v>10.5</c:v>
                </c:pt>
                <c:pt idx="2547">
                  <c:v>7.68</c:v>
                </c:pt>
                <c:pt idx="2548">
                  <c:v>16.3</c:v>
                </c:pt>
                <c:pt idx="2549">
                  <c:v>9.3800000000000008</c:v>
                </c:pt>
                <c:pt idx="2550">
                  <c:v>12.35</c:v>
                </c:pt>
                <c:pt idx="2551">
                  <c:v>33.200000000000003</c:v>
                </c:pt>
                <c:pt idx="2552">
                  <c:v>27.29</c:v>
                </c:pt>
                <c:pt idx="2553">
                  <c:v>30.37</c:v>
                </c:pt>
                <c:pt idx="2554">
                  <c:v>39.049999999999997</c:v>
                </c:pt>
                <c:pt idx="2555">
                  <c:v>37.78</c:v>
                </c:pt>
                <c:pt idx="2556">
                  <c:v>32.29</c:v>
                </c:pt>
                <c:pt idx="2557">
                  <c:v>16.309999999999999</c:v>
                </c:pt>
                <c:pt idx="2558">
                  <c:v>4.45</c:v>
                </c:pt>
                <c:pt idx="2559">
                  <c:v>18.260000000000002</c:v>
                </c:pt>
                <c:pt idx="2560">
                  <c:v>12.98</c:v>
                </c:pt>
                <c:pt idx="2561">
                  <c:v>35.86</c:v>
                </c:pt>
                <c:pt idx="2562">
                  <c:v>33.880000000000003</c:v>
                </c:pt>
                <c:pt idx="2563">
                  <c:v>38.72</c:v>
                </c:pt>
                <c:pt idx="2564">
                  <c:v>28.48</c:v>
                </c:pt>
                <c:pt idx="2565">
                  <c:v>24.25</c:v>
                </c:pt>
                <c:pt idx="2566">
                  <c:v>12.86</c:v>
                </c:pt>
                <c:pt idx="2567">
                  <c:v>1.1000000000000001</c:v>
                </c:pt>
                <c:pt idx="2568">
                  <c:v>22.56</c:v>
                </c:pt>
                <c:pt idx="2569">
                  <c:v>24.81</c:v>
                </c:pt>
                <c:pt idx="2570">
                  <c:v>27.21</c:v>
                </c:pt>
                <c:pt idx="2571">
                  <c:v>25.37</c:v>
                </c:pt>
                <c:pt idx="2572">
                  <c:v>33.08</c:v>
                </c:pt>
                <c:pt idx="2573">
                  <c:v>31.5</c:v>
                </c:pt>
                <c:pt idx="2574">
                  <c:v>26.99</c:v>
                </c:pt>
                <c:pt idx="2575">
                  <c:v>42.58</c:v>
                </c:pt>
                <c:pt idx="2576">
                  <c:v>47.04</c:v>
                </c:pt>
                <c:pt idx="2577">
                  <c:v>44.99</c:v>
                </c:pt>
                <c:pt idx="2578">
                  <c:v>43.82</c:v>
                </c:pt>
                <c:pt idx="2579">
                  <c:v>42.37</c:v>
                </c:pt>
                <c:pt idx="2580">
                  <c:v>29.78</c:v>
                </c:pt>
                <c:pt idx="2581">
                  <c:v>28.28</c:v>
                </c:pt>
                <c:pt idx="2582">
                  <c:v>37.5</c:v>
                </c:pt>
                <c:pt idx="2583">
                  <c:v>32.94</c:v>
                </c:pt>
                <c:pt idx="2584">
                  <c:v>28.18</c:v>
                </c:pt>
                <c:pt idx="2585">
                  <c:v>26.24</c:v>
                </c:pt>
                <c:pt idx="2586">
                  <c:v>38.24</c:v>
                </c:pt>
                <c:pt idx="2587">
                  <c:v>29.81</c:v>
                </c:pt>
                <c:pt idx="2588">
                  <c:v>29.23</c:v>
                </c:pt>
                <c:pt idx="2589">
                  <c:v>42.38</c:v>
                </c:pt>
                <c:pt idx="2590">
                  <c:v>45.53</c:v>
                </c:pt>
                <c:pt idx="2591">
                  <c:v>48.28</c:v>
                </c:pt>
                <c:pt idx="2592">
                  <c:v>44.04</c:v>
                </c:pt>
                <c:pt idx="2593">
                  <c:v>39.299999999999997</c:v>
                </c:pt>
                <c:pt idx="2594">
                  <c:v>26.91</c:v>
                </c:pt>
                <c:pt idx="2595">
                  <c:v>12.44</c:v>
                </c:pt>
                <c:pt idx="2596">
                  <c:v>27.56</c:v>
                </c:pt>
                <c:pt idx="2597">
                  <c:v>44.18</c:v>
                </c:pt>
                <c:pt idx="2598">
                  <c:v>48.32</c:v>
                </c:pt>
                <c:pt idx="2599">
                  <c:v>48.38</c:v>
                </c:pt>
                <c:pt idx="2600">
                  <c:v>38.700000000000003</c:v>
                </c:pt>
                <c:pt idx="2601">
                  <c:v>32.67</c:v>
                </c:pt>
                <c:pt idx="2602">
                  <c:v>29.43</c:v>
                </c:pt>
                <c:pt idx="2603">
                  <c:v>35.53</c:v>
                </c:pt>
                <c:pt idx="2604">
                  <c:v>42.94</c:v>
                </c:pt>
                <c:pt idx="2605">
                  <c:v>43.2</c:v>
                </c:pt>
                <c:pt idx="2606">
                  <c:v>38.14</c:v>
                </c:pt>
                <c:pt idx="2607">
                  <c:v>30.78</c:v>
                </c:pt>
                <c:pt idx="2608">
                  <c:v>30.34</c:v>
                </c:pt>
                <c:pt idx="2609">
                  <c:v>33.520000000000003</c:v>
                </c:pt>
                <c:pt idx="2610">
                  <c:v>31.68</c:v>
                </c:pt>
                <c:pt idx="2611">
                  <c:v>34.64</c:v>
                </c:pt>
                <c:pt idx="2612">
                  <c:v>44.28</c:v>
                </c:pt>
                <c:pt idx="2613">
                  <c:v>37.299999999999997</c:v>
                </c:pt>
                <c:pt idx="2614">
                  <c:v>38.86</c:v>
                </c:pt>
                <c:pt idx="2615">
                  <c:v>29.51</c:v>
                </c:pt>
                <c:pt idx="2616">
                  <c:v>10.75</c:v>
                </c:pt>
                <c:pt idx="2617">
                  <c:v>26.74</c:v>
                </c:pt>
                <c:pt idx="2618">
                  <c:v>27.21</c:v>
                </c:pt>
                <c:pt idx="2619">
                  <c:v>26.14</c:v>
                </c:pt>
                <c:pt idx="2620">
                  <c:v>36.369999999999997</c:v>
                </c:pt>
                <c:pt idx="2621">
                  <c:v>39.94</c:v>
                </c:pt>
                <c:pt idx="2622">
                  <c:v>28.68</c:v>
                </c:pt>
                <c:pt idx="2623">
                  <c:v>22.48</c:v>
                </c:pt>
                <c:pt idx="2624">
                  <c:v>38.93</c:v>
                </c:pt>
                <c:pt idx="2625">
                  <c:v>37.9</c:v>
                </c:pt>
                <c:pt idx="2626">
                  <c:v>34.85</c:v>
                </c:pt>
                <c:pt idx="2627">
                  <c:v>39.46</c:v>
                </c:pt>
                <c:pt idx="2628">
                  <c:v>36.67</c:v>
                </c:pt>
                <c:pt idx="2629">
                  <c:v>31.95</c:v>
                </c:pt>
                <c:pt idx="2630">
                  <c:v>27.55</c:v>
                </c:pt>
                <c:pt idx="2631">
                  <c:v>30.84</c:v>
                </c:pt>
                <c:pt idx="2632">
                  <c:v>31.93</c:v>
                </c:pt>
                <c:pt idx="2633">
                  <c:v>36.44</c:v>
                </c:pt>
                <c:pt idx="2634">
                  <c:v>37.229999999999997</c:v>
                </c:pt>
                <c:pt idx="2635">
                  <c:v>35.299999999999997</c:v>
                </c:pt>
                <c:pt idx="2636">
                  <c:v>30.97</c:v>
                </c:pt>
                <c:pt idx="2637">
                  <c:v>25.98</c:v>
                </c:pt>
                <c:pt idx="2638">
                  <c:v>41.2</c:v>
                </c:pt>
                <c:pt idx="2639">
                  <c:v>48.28</c:v>
                </c:pt>
                <c:pt idx="2640">
                  <c:v>39.54</c:v>
                </c:pt>
                <c:pt idx="2641">
                  <c:v>40.729999999999997</c:v>
                </c:pt>
                <c:pt idx="2642">
                  <c:v>33.69</c:v>
                </c:pt>
                <c:pt idx="2643">
                  <c:v>27.06</c:v>
                </c:pt>
                <c:pt idx="2644">
                  <c:v>12.13</c:v>
                </c:pt>
                <c:pt idx="2645">
                  <c:v>16.05</c:v>
                </c:pt>
                <c:pt idx="2646">
                  <c:v>17.850000000000001</c:v>
                </c:pt>
                <c:pt idx="2647">
                  <c:v>19.100000000000001</c:v>
                </c:pt>
                <c:pt idx="2648">
                  <c:v>32.25</c:v>
                </c:pt>
                <c:pt idx="2649">
                  <c:v>23.71</c:v>
                </c:pt>
                <c:pt idx="2650">
                  <c:v>27.98</c:v>
                </c:pt>
                <c:pt idx="2651">
                  <c:v>25.4</c:v>
                </c:pt>
                <c:pt idx="2652">
                  <c:v>25.84</c:v>
                </c:pt>
                <c:pt idx="2653">
                  <c:v>36.369999999999997</c:v>
                </c:pt>
                <c:pt idx="2654">
                  <c:v>41.98</c:v>
                </c:pt>
                <c:pt idx="2655">
                  <c:v>42.37</c:v>
                </c:pt>
                <c:pt idx="2656">
                  <c:v>35.53</c:v>
                </c:pt>
                <c:pt idx="2657">
                  <c:v>23.55</c:v>
                </c:pt>
                <c:pt idx="2658">
                  <c:v>-0.8</c:v>
                </c:pt>
                <c:pt idx="2659">
                  <c:v>21.17</c:v>
                </c:pt>
                <c:pt idx="2660">
                  <c:v>32.57</c:v>
                </c:pt>
                <c:pt idx="2661">
                  <c:v>26.96</c:v>
                </c:pt>
                <c:pt idx="2662">
                  <c:v>34.29</c:v>
                </c:pt>
                <c:pt idx="2663">
                  <c:v>37.29</c:v>
                </c:pt>
                <c:pt idx="2664">
                  <c:v>26.86</c:v>
                </c:pt>
                <c:pt idx="2665">
                  <c:v>23.27</c:v>
                </c:pt>
                <c:pt idx="2666">
                  <c:v>32.69</c:v>
                </c:pt>
                <c:pt idx="2667">
                  <c:v>30.41</c:v>
                </c:pt>
                <c:pt idx="2668">
                  <c:v>35.700000000000003</c:v>
                </c:pt>
                <c:pt idx="2669">
                  <c:v>34.71</c:v>
                </c:pt>
                <c:pt idx="2670">
                  <c:v>33.409999999999997</c:v>
                </c:pt>
                <c:pt idx="2671">
                  <c:v>26.61</c:v>
                </c:pt>
                <c:pt idx="2672">
                  <c:v>22.97</c:v>
                </c:pt>
                <c:pt idx="2673">
                  <c:v>35.04</c:v>
                </c:pt>
                <c:pt idx="2674">
                  <c:v>37.130000000000003</c:v>
                </c:pt>
                <c:pt idx="2675">
                  <c:v>32.369999999999997</c:v>
                </c:pt>
                <c:pt idx="2676">
                  <c:v>34.979999999999997</c:v>
                </c:pt>
                <c:pt idx="2677">
                  <c:v>23.21</c:v>
                </c:pt>
                <c:pt idx="2678">
                  <c:v>26.11</c:v>
                </c:pt>
                <c:pt idx="2679">
                  <c:v>17.13</c:v>
                </c:pt>
                <c:pt idx="2680">
                  <c:v>30.85</c:v>
                </c:pt>
                <c:pt idx="2681">
                  <c:v>26.77</c:v>
                </c:pt>
                <c:pt idx="2682">
                  <c:v>26</c:v>
                </c:pt>
                <c:pt idx="2683">
                  <c:v>27.87</c:v>
                </c:pt>
                <c:pt idx="2684">
                  <c:v>29.88</c:v>
                </c:pt>
                <c:pt idx="2685">
                  <c:v>17.28</c:v>
                </c:pt>
                <c:pt idx="2686">
                  <c:v>2.39</c:v>
                </c:pt>
                <c:pt idx="2687">
                  <c:v>29.24</c:v>
                </c:pt>
                <c:pt idx="2688">
                  <c:v>29.36</c:v>
                </c:pt>
                <c:pt idx="2689">
                  <c:v>26.4</c:v>
                </c:pt>
                <c:pt idx="2690">
                  <c:v>20.21</c:v>
                </c:pt>
                <c:pt idx="2691">
                  <c:v>30.58</c:v>
                </c:pt>
                <c:pt idx="2692">
                  <c:v>20.49</c:v>
                </c:pt>
                <c:pt idx="2693">
                  <c:v>12.27</c:v>
                </c:pt>
                <c:pt idx="2694">
                  <c:v>30.08</c:v>
                </c:pt>
                <c:pt idx="2695">
                  <c:v>28.75</c:v>
                </c:pt>
                <c:pt idx="2696">
                  <c:v>34.770000000000003</c:v>
                </c:pt>
                <c:pt idx="2697">
                  <c:v>33.99</c:v>
                </c:pt>
                <c:pt idx="2698">
                  <c:v>31.19</c:v>
                </c:pt>
                <c:pt idx="2699">
                  <c:v>24.42</c:v>
                </c:pt>
                <c:pt idx="2700">
                  <c:v>19.72</c:v>
                </c:pt>
                <c:pt idx="2701">
                  <c:v>23.52</c:v>
                </c:pt>
                <c:pt idx="2702">
                  <c:v>33.200000000000003</c:v>
                </c:pt>
                <c:pt idx="2703">
                  <c:v>31.96</c:v>
                </c:pt>
                <c:pt idx="2704">
                  <c:v>30.49</c:v>
                </c:pt>
                <c:pt idx="2705">
                  <c:v>31.12</c:v>
                </c:pt>
                <c:pt idx="2706">
                  <c:v>21.55</c:v>
                </c:pt>
                <c:pt idx="2707">
                  <c:v>15.3</c:v>
                </c:pt>
                <c:pt idx="2708">
                  <c:v>31.44</c:v>
                </c:pt>
                <c:pt idx="2709">
                  <c:v>22.03</c:v>
                </c:pt>
                <c:pt idx="2710">
                  <c:v>27.75</c:v>
                </c:pt>
                <c:pt idx="2711">
                  <c:v>28.93</c:v>
                </c:pt>
                <c:pt idx="2712">
                  <c:v>29.61</c:v>
                </c:pt>
                <c:pt idx="2713">
                  <c:v>23.63</c:v>
                </c:pt>
                <c:pt idx="2714">
                  <c:v>18.010000000000002</c:v>
                </c:pt>
                <c:pt idx="2715">
                  <c:v>30.64</c:v>
                </c:pt>
                <c:pt idx="2716">
                  <c:v>33.78</c:v>
                </c:pt>
                <c:pt idx="2717">
                  <c:v>32.43</c:v>
                </c:pt>
                <c:pt idx="2718">
                  <c:v>35.76</c:v>
                </c:pt>
                <c:pt idx="2719">
                  <c:v>35.200000000000003</c:v>
                </c:pt>
                <c:pt idx="2720">
                  <c:v>26.51</c:v>
                </c:pt>
                <c:pt idx="2721">
                  <c:v>18.489999999999998</c:v>
                </c:pt>
                <c:pt idx="2722">
                  <c:v>31.9</c:v>
                </c:pt>
                <c:pt idx="2723">
                  <c:v>37.47</c:v>
                </c:pt>
                <c:pt idx="2724">
                  <c:v>31.36</c:v>
                </c:pt>
                <c:pt idx="2725">
                  <c:v>32.58</c:v>
                </c:pt>
                <c:pt idx="2726">
                  <c:v>32.4</c:v>
                </c:pt>
                <c:pt idx="2727">
                  <c:v>28.08</c:v>
                </c:pt>
                <c:pt idx="2728">
                  <c:v>23.47</c:v>
                </c:pt>
                <c:pt idx="2729">
                  <c:v>33.25</c:v>
                </c:pt>
                <c:pt idx="2730">
                  <c:v>31.87</c:v>
                </c:pt>
                <c:pt idx="2731">
                  <c:v>30.59</c:v>
                </c:pt>
                <c:pt idx="2732">
                  <c:v>36.47</c:v>
                </c:pt>
                <c:pt idx="2733">
                  <c:v>36.270000000000003</c:v>
                </c:pt>
                <c:pt idx="2734">
                  <c:v>29.38</c:v>
                </c:pt>
                <c:pt idx="2735">
                  <c:v>20.99</c:v>
                </c:pt>
                <c:pt idx="2736">
                  <c:v>36.119999999999997</c:v>
                </c:pt>
                <c:pt idx="2737">
                  <c:v>35.549999999999997</c:v>
                </c:pt>
                <c:pt idx="2738">
                  <c:v>33.58</c:v>
                </c:pt>
                <c:pt idx="2739">
                  <c:v>33.9</c:v>
                </c:pt>
                <c:pt idx="2740">
                  <c:v>44.76</c:v>
                </c:pt>
                <c:pt idx="2741">
                  <c:v>33.619999999999997</c:v>
                </c:pt>
                <c:pt idx="2742">
                  <c:v>28.28</c:v>
                </c:pt>
                <c:pt idx="2743">
                  <c:v>37.049999999999997</c:v>
                </c:pt>
                <c:pt idx="2744">
                  <c:v>49.02</c:v>
                </c:pt>
                <c:pt idx="2745">
                  <c:v>29.57</c:v>
                </c:pt>
                <c:pt idx="2746">
                  <c:v>28.7</c:v>
                </c:pt>
                <c:pt idx="2747">
                  <c:v>32.14</c:v>
                </c:pt>
                <c:pt idx="2748">
                  <c:v>33.21</c:v>
                </c:pt>
                <c:pt idx="2749">
                  <c:v>27.9</c:v>
                </c:pt>
                <c:pt idx="2750">
                  <c:v>40.98</c:v>
                </c:pt>
                <c:pt idx="2751">
                  <c:v>41.61</c:v>
                </c:pt>
                <c:pt idx="2752">
                  <c:v>47.73</c:v>
                </c:pt>
                <c:pt idx="2753">
                  <c:v>45.59</c:v>
                </c:pt>
                <c:pt idx="2754">
                  <c:v>38.049999999999997</c:v>
                </c:pt>
                <c:pt idx="2755">
                  <c:v>37.64</c:v>
                </c:pt>
                <c:pt idx="2756">
                  <c:v>29.84</c:v>
                </c:pt>
                <c:pt idx="2757">
                  <c:v>41.77</c:v>
                </c:pt>
                <c:pt idx="2758">
                  <c:v>45.6</c:v>
                </c:pt>
                <c:pt idx="2759">
                  <c:v>46.7</c:v>
                </c:pt>
                <c:pt idx="2760">
                  <c:v>47.18</c:v>
                </c:pt>
                <c:pt idx="2761">
                  <c:v>45.5</c:v>
                </c:pt>
                <c:pt idx="2762">
                  <c:v>15.83</c:v>
                </c:pt>
                <c:pt idx="2763">
                  <c:v>11.04</c:v>
                </c:pt>
                <c:pt idx="2764">
                  <c:v>31.11</c:v>
                </c:pt>
                <c:pt idx="2765">
                  <c:v>24.56</c:v>
                </c:pt>
                <c:pt idx="2766">
                  <c:v>27.4</c:v>
                </c:pt>
                <c:pt idx="2767">
                  <c:v>24.5</c:v>
                </c:pt>
                <c:pt idx="2768">
                  <c:v>30.52</c:v>
                </c:pt>
                <c:pt idx="2769">
                  <c:v>22.4</c:v>
                </c:pt>
                <c:pt idx="2770">
                  <c:v>17.29</c:v>
                </c:pt>
                <c:pt idx="2771">
                  <c:v>28.93</c:v>
                </c:pt>
                <c:pt idx="2772">
                  <c:v>33.200000000000003</c:v>
                </c:pt>
                <c:pt idx="2773">
                  <c:v>34.81</c:v>
                </c:pt>
                <c:pt idx="2774">
                  <c:v>34.450000000000003</c:v>
                </c:pt>
                <c:pt idx="2775">
                  <c:v>34.22</c:v>
                </c:pt>
                <c:pt idx="2776">
                  <c:v>28.29</c:v>
                </c:pt>
                <c:pt idx="2777">
                  <c:v>26.99</c:v>
                </c:pt>
                <c:pt idx="2778">
                  <c:v>34.31</c:v>
                </c:pt>
                <c:pt idx="2779">
                  <c:v>38.79</c:v>
                </c:pt>
                <c:pt idx="2780">
                  <c:v>37.590000000000003</c:v>
                </c:pt>
                <c:pt idx="2781">
                  <c:v>34.21</c:v>
                </c:pt>
                <c:pt idx="2782">
                  <c:v>30.47</c:v>
                </c:pt>
                <c:pt idx="2783">
                  <c:v>32.380000000000003</c:v>
                </c:pt>
                <c:pt idx="2784">
                  <c:v>30.07</c:v>
                </c:pt>
                <c:pt idx="2785">
                  <c:v>40.450000000000003</c:v>
                </c:pt>
                <c:pt idx="2786">
                  <c:v>37.58</c:v>
                </c:pt>
                <c:pt idx="2787">
                  <c:v>39.46</c:v>
                </c:pt>
                <c:pt idx="2788">
                  <c:v>37.35</c:v>
                </c:pt>
                <c:pt idx="2789">
                  <c:v>31.92</c:v>
                </c:pt>
                <c:pt idx="2790">
                  <c:v>27.52</c:v>
                </c:pt>
                <c:pt idx="2791">
                  <c:v>16.87</c:v>
                </c:pt>
                <c:pt idx="2792">
                  <c:v>30.91</c:v>
                </c:pt>
                <c:pt idx="2793">
                  <c:v>26</c:v>
                </c:pt>
                <c:pt idx="2794">
                  <c:v>29.31</c:v>
                </c:pt>
                <c:pt idx="2795">
                  <c:v>30.89</c:v>
                </c:pt>
                <c:pt idx="2796">
                  <c:v>41</c:v>
                </c:pt>
                <c:pt idx="2797">
                  <c:v>30.04</c:v>
                </c:pt>
                <c:pt idx="2798">
                  <c:v>26.6</c:v>
                </c:pt>
                <c:pt idx="2799">
                  <c:v>35.5</c:v>
                </c:pt>
                <c:pt idx="2800">
                  <c:v>39.14</c:v>
                </c:pt>
                <c:pt idx="2801">
                  <c:v>37.619999999999997</c:v>
                </c:pt>
                <c:pt idx="2802">
                  <c:v>40.76</c:v>
                </c:pt>
                <c:pt idx="2803">
                  <c:v>33.020000000000003</c:v>
                </c:pt>
                <c:pt idx="2804">
                  <c:v>19.739999999999998</c:v>
                </c:pt>
                <c:pt idx="2805">
                  <c:v>1.51</c:v>
                </c:pt>
                <c:pt idx="2806">
                  <c:v>32.520000000000003</c:v>
                </c:pt>
                <c:pt idx="2807">
                  <c:v>35.47</c:v>
                </c:pt>
                <c:pt idx="2808">
                  <c:v>34.53</c:v>
                </c:pt>
                <c:pt idx="2809">
                  <c:v>33.75</c:v>
                </c:pt>
                <c:pt idx="2810">
                  <c:v>33.47</c:v>
                </c:pt>
                <c:pt idx="2811">
                  <c:v>30.63</c:v>
                </c:pt>
                <c:pt idx="2812">
                  <c:v>25.97</c:v>
                </c:pt>
                <c:pt idx="2813">
                  <c:v>33.909999999999997</c:v>
                </c:pt>
                <c:pt idx="2814">
                  <c:v>28.25</c:v>
                </c:pt>
                <c:pt idx="2815">
                  <c:v>33.93</c:v>
                </c:pt>
                <c:pt idx="2816">
                  <c:v>27.7</c:v>
                </c:pt>
                <c:pt idx="2817">
                  <c:v>36.47</c:v>
                </c:pt>
                <c:pt idx="2818">
                  <c:v>30.54</c:v>
                </c:pt>
                <c:pt idx="2819">
                  <c:v>21.88</c:v>
                </c:pt>
                <c:pt idx="2820">
                  <c:v>36.72</c:v>
                </c:pt>
                <c:pt idx="2821">
                  <c:v>33.44</c:v>
                </c:pt>
                <c:pt idx="2822">
                  <c:v>43.25</c:v>
                </c:pt>
                <c:pt idx="2823">
                  <c:v>32.020000000000003</c:v>
                </c:pt>
                <c:pt idx="2824">
                  <c:v>35.380000000000003</c:v>
                </c:pt>
                <c:pt idx="2825">
                  <c:v>32.94</c:v>
                </c:pt>
                <c:pt idx="2826">
                  <c:v>26.01</c:v>
                </c:pt>
                <c:pt idx="2827">
                  <c:v>34.47</c:v>
                </c:pt>
                <c:pt idx="2828">
                  <c:v>34.369999999999997</c:v>
                </c:pt>
                <c:pt idx="2829">
                  <c:v>37.020000000000003</c:v>
                </c:pt>
                <c:pt idx="2830">
                  <c:v>39.020000000000003</c:v>
                </c:pt>
                <c:pt idx="2831">
                  <c:v>37.979999999999997</c:v>
                </c:pt>
                <c:pt idx="2832">
                  <c:v>28.85</c:v>
                </c:pt>
                <c:pt idx="2833">
                  <c:v>31.18</c:v>
                </c:pt>
                <c:pt idx="2834">
                  <c:v>39.299999999999997</c:v>
                </c:pt>
                <c:pt idx="2835">
                  <c:v>37.229999999999997</c:v>
                </c:pt>
                <c:pt idx="2836">
                  <c:v>40.479999999999997</c:v>
                </c:pt>
                <c:pt idx="2837">
                  <c:v>47.14</c:v>
                </c:pt>
                <c:pt idx="2838">
                  <c:v>44.34</c:v>
                </c:pt>
                <c:pt idx="2839">
                  <c:v>33.64</c:v>
                </c:pt>
                <c:pt idx="2840">
                  <c:v>21.91</c:v>
                </c:pt>
                <c:pt idx="2841">
                  <c:v>34.840000000000003</c:v>
                </c:pt>
                <c:pt idx="2842">
                  <c:v>42.15</c:v>
                </c:pt>
                <c:pt idx="2843">
                  <c:v>44.7</c:v>
                </c:pt>
                <c:pt idx="2844">
                  <c:v>39.85</c:v>
                </c:pt>
                <c:pt idx="2845">
                  <c:v>47.34</c:v>
                </c:pt>
                <c:pt idx="2846">
                  <c:v>40.46</c:v>
                </c:pt>
                <c:pt idx="2847">
                  <c:v>37.479999999999997</c:v>
                </c:pt>
                <c:pt idx="2848">
                  <c:v>50.72</c:v>
                </c:pt>
                <c:pt idx="2849">
                  <c:v>48.4</c:v>
                </c:pt>
                <c:pt idx="2850">
                  <c:v>41.7</c:v>
                </c:pt>
                <c:pt idx="2851">
                  <c:v>37.21</c:v>
                </c:pt>
                <c:pt idx="2852">
                  <c:v>37.78</c:v>
                </c:pt>
                <c:pt idx="2853">
                  <c:v>32.81</c:v>
                </c:pt>
                <c:pt idx="2854">
                  <c:v>33.32</c:v>
                </c:pt>
                <c:pt idx="2855">
                  <c:v>39.520000000000003</c:v>
                </c:pt>
                <c:pt idx="2856">
                  <c:v>40.369999999999997</c:v>
                </c:pt>
                <c:pt idx="2857">
                  <c:v>42.2</c:v>
                </c:pt>
                <c:pt idx="2858">
                  <c:v>49.64</c:v>
                </c:pt>
                <c:pt idx="2859">
                  <c:v>43.2</c:v>
                </c:pt>
                <c:pt idx="2860">
                  <c:v>35.729999999999997</c:v>
                </c:pt>
                <c:pt idx="2861">
                  <c:v>31.57</c:v>
                </c:pt>
                <c:pt idx="2862">
                  <c:v>39.96</c:v>
                </c:pt>
                <c:pt idx="2863">
                  <c:v>41.65</c:v>
                </c:pt>
                <c:pt idx="2864">
                  <c:v>42.31</c:v>
                </c:pt>
                <c:pt idx="2865">
                  <c:v>43.97</c:v>
                </c:pt>
                <c:pt idx="2866">
                  <c:v>36.67</c:v>
                </c:pt>
                <c:pt idx="2867">
                  <c:v>29.45</c:v>
                </c:pt>
                <c:pt idx="2868">
                  <c:v>20.64</c:v>
                </c:pt>
                <c:pt idx="2869">
                  <c:v>28.68</c:v>
                </c:pt>
                <c:pt idx="2870">
                  <c:v>28.84</c:v>
                </c:pt>
                <c:pt idx="2871">
                  <c:v>35.08</c:v>
                </c:pt>
                <c:pt idx="2872">
                  <c:v>36.450000000000003</c:v>
                </c:pt>
                <c:pt idx="2873">
                  <c:v>32.090000000000003</c:v>
                </c:pt>
                <c:pt idx="2874">
                  <c:v>20.69</c:v>
                </c:pt>
                <c:pt idx="2875">
                  <c:v>23.83</c:v>
                </c:pt>
                <c:pt idx="2876">
                  <c:v>30.51</c:v>
                </c:pt>
                <c:pt idx="2877">
                  <c:v>31.72</c:v>
                </c:pt>
                <c:pt idx="2878">
                  <c:v>20.440000000000001</c:v>
                </c:pt>
                <c:pt idx="2879">
                  <c:v>24.85</c:v>
                </c:pt>
                <c:pt idx="2880">
                  <c:v>38.17</c:v>
                </c:pt>
                <c:pt idx="2881">
                  <c:v>29.74</c:v>
                </c:pt>
                <c:pt idx="2882">
                  <c:v>26.02</c:v>
                </c:pt>
                <c:pt idx="2883">
                  <c:v>49.43</c:v>
                </c:pt>
                <c:pt idx="2884">
                  <c:v>35.21</c:v>
                </c:pt>
                <c:pt idx="2885">
                  <c:v>41.73</c:v>
                </c:pt>
                <c:pt idx="2886">
                  <c:v>51.27</c:v>
                </c:pt>
                <c:pt idx="2887">
                  <c:v>36.770000000000003</c:v>
                </c:pt>
                <c:pt idx="2888">
                  <c:v>27.87</c:v>
                </c:pt>
                <c:pt idx="2889">
                  <c:v>10.81</c:v>
                </c:pt>
                <c:pt idx="2890">
                  <c:v>25.28</c:v>
                </c:pt>
                <c:pt idx="2891">
                  <c:v>35.67</c:v>
                </c:pt>
                <c:pt idx="2892">
                  <c:v>36.4</c:v>
                </c:pt>
                <c:pt idx="2893">
                  <c:v>42.53</c:v>
                </c:pt>
                <c:pt idx="2894">
                  <c:v>30.73</c:v>
                </c:pt>
                <c:pt idx="2895">
                  <c:v>23.5</c:v>
                </c:pt>
                <c:pt idx="2896">
                  <c:v>17.559999999999999</c:v>
                </c:pt>
                <c:pt idx="2897">
                  <c:v>40.61</c:v>
                </c:pt>
                <c:pt idx="2898">
                  <c:v>34.729999999999997</c:v>
                </c:pt>
                <c:pt idx="2899">
                  <c:v>34.950000000000003</c:v>
                </c:pt>
                <c:pt idx="2900">
                  <c:v>29.46</c:v>
                </c:pt>
                <c:pt idx="2901">
                  <c:v>26.4</c:v>
                </c:pt>
                <c:pt idx="2902">
                  <c:v>25.82</c:v>
                </c:pt>
                <c:pt idx="2903">
                  <c:v>27.1</c:v>
                </c:pt>
                <c:pt idx="2904">
                  <c:v>41.94</c:v>
                </c:pt>
                <c:pt idx="2905">
                  <c:v>42.61</c:v>
                </c:pt>
                <c:pt idx="2906">
                  <c:v>36.97</c:v>
                </c:pt>
                <c:pt idx="2907">
                  <c:v>32.47</c:v>
                </c:pt>
                <c:pt idx="2908">
                  <c:v>32.64</c:v>
                </c:pt>
                <c:pt idx="2909">
                  <c:v>26.87</c:v>
                </c:pt>
                <c:pt idx="2910">
                  <c:v>17.329999999999998</c:v>
                </c:pt>
                <c:pt idx="2911">
                  <c:v>24.98</c:v>
                </c:pt>
                <c:pt idx="2912">
                  <c:v>16.98</c:v>
                </c:pt>
                <c:pt idx="2913">
                  <c:v>19.510000000000002</c:v>
                </c:pt>
                <c:pt idx="2914">
                  <c:v>17.27</c:v>
                </c:pt>
                <c:pt idx="2915">
                  <c:v>13.3</c:v>
                </c:pt>
                <c:pt idx="2916">
                  <c:v>6.79</c:v>
                </c:pt>
                <c:pt idx="2917">
                  <c:v>15.53</c:v>
                </c:pt>
                <c:pt idx="2918">
                  <c:v>30.81</c:v>
                </c:pt>
                <c:pt idx="2919">
                  <c:v>30.96</c:v>
                </c:pt>
                <c:pt idx="2920">
                  <c:v>26.86</c:v>
                </c:pt>
                <c:pt idx="2921">
                  <c:v>21.92</c:v>
                </c:pt>
                <c:pt idx="2922">
                  <c:v>24.95</c:v>
                </c:pt>
                <c:pt idx="2923">
                  <c:v>18.14</c:v>
                </c:pt>
                <c:pt idx="2924">
                  <c:v>14.15</c:v>
                </c:pt>
                <c:pt idx="2925">
                  <c:v>27.47</c:v>
                </c:pt>
                <c:pt idx="2926">
                  <c:v>33.39</c:v>
                </c:pt>
                <c:pt idx="2927">
                  <c:v>33.61</c:v>
                </c:pt>
                <c:pt idx="2928">
                  <c:v>33.4</c:v>
                </c:pt>
                <c:pt idx="2929">
                  <c:v>26.97</c:v>
                </c:pt>
                <c:pt idx="2930">
                  <c:v>28.9</c:v>
                </c:pt>
                <c:pt idx="2931">
                  <c:v>20.56</c:v>
                </c:pt>
                <c:pt idx="2932">
                  <c:v>33.619999999999997</c:v>
                </c:pt>
                <c:pt idx="2933">
                  <c:v>29.45</c:v>
                </c:pt>
                <c:pt idx="2934">
                  <c:v>29.16</c:v>
                </c:pt>
                <c:pt idx="2935">
                  <c:v>33.590000000000003</c:v>
                </c:pt>
                <c:pt idx="2936">
                  <c:v>35.4</c:v>
                </c:pt>
                <c:pt idx="2937">
                  <c:v>28.32</c:v>
                </c:pt>
                <c:pt idx="2938">
                  <c:v>27.57</c:v>
                </c:pt>
                <c:pt idx="2939">
                  <c:v>38.869999999999997</c:v>
                </c:pt>
                <c:pt idx="2940">
                  <c:v>48.2</c:v>
                </c:pt>
                <c:pt idx="2941">
                  <c:v>48.73</c:v>
                </c:pt>
                <c:pt idx="2942">
                  <c:v>52.18</c:v>
                </c:pt>
                <c:pt idx="2943">
                  <c:v>33.29</c:v>
                </c:pt>
                <c:pt idx="2944">
                  <c:v>28.28</c:v>
                </c:pt>
                <c:pt idx="2945">
                  <c:v>26.35</c:v>
                </c:pt>
                <c:pt idx="2946">
                  <c:v>28.34</c:v>
                </c:pt>
                <c:pt idx="2947">
                  <c:v>25.51</c:v>
                </c:pt>
                <c:pt idx="2948">
                  <c:v>19.2</c:v>
                </c:pt>
                <c:pt idx="2949">
                  <c:v>25.8</c:v>
                </c:pt>
                <c:pt idx="2950">
                  <c:v>22.65</c:v>
                </c:pt>
                <c:pt idx="2951">
                  <c:v>12.05</c:v>
                </c:pt>
                <c:pt idx="2952">
                  <c:v>12.05</c:v>
                </c:pt>
                <c:pt idx="2953">
                  <c:v>21.25</c:v>
                </c:pt>
                <c:pt idx="2954">
                  <c:v>16.57</c:v>
                </c:pt>
                <c:pt idx="2955">
                  <c:v>22.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4412152"/>
        <c:axId val="684412544"/>
      </c:lineChart>
      <c:dateAx>
        <c:axId val="684412152"/>
        <c:scaling>
          <c:orientation val="minMax"/>
        </c:scaling>
        <c:delete val="0"/>
        <c:axPos val="b"/>
        <c:numFmt formatCode="dd/mm/yy;@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4412544"/>
        <c:crosses val="autoZero"/>
        <c:auto val="1"/>
        <c:lblOffset val="100"/>
        <c:baseTimeUnit val="days"/>
      </c:dateAx>
      <c:valAx>
        <c:axId val="684412544"/>
        <c:scaling>
          <c:orientation val="minMax"/>
          <c:min val="0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4412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900"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754586429225452"/>
          <c:y val="7.9065985583131312E-2"/>
          <c:w val="0.71626411796953771"/>
          <c:h val="0.43564318164481458"/>
        </c:manualLayout>
      </c:layout>
      <c:lineChart>
        <c:grouping val="standard"/>
        <c:varyColors val="0"/>
        <c:ser>
          <c:idx val="0"/>
          <c:order val="0"/>
          <c:tx>
            <c:strRef>
              <c:f>Daily!$A$2</c:f>
              <c:strCache>
                <c:ptCount val="1"/>
                <c:pt idx="0">
                  <c:v>Nord Pool</c:v>
                </c:pt>
              </c:strCache>
            </c:strRef>
          </c:tx>
          <c:spPr>
            <a:ln w="3175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trendline>
            <c:spPr>
              <a:ln w="25400" cap="rnd" cmpd="sng" algn="ctr">
                <a:solidFill>
                  <a:srgbClr val="0070C0"/>
                </a:solidFill>
                <a:prstDash val="solid"/>
                <a:round/>
              </a:ln>
              <a:effectLst/>
            </c:spPr>
            <c:trendlineType val="movingAvg"/>
            <c:period val="30"/>
            <c:dispRSqr val="0"/>
            <c:dispEq val="0"/>
          </c:trendline>
          <c:cat>
            <c:numRef>
              <c:f>Daily!$B$1:$DIS$1</c:f>
              <c:numCache>
                <c:formatCode>dd/mm/yy;@</c:formatCode>
                <c:ptCount val="2956"/>
                <c:pt idx="0">
                  <c:v>39448</c:v>
                </c:pt>
                <c:pt idx="1">
                  <c:v>39449</c:v>
                </c:pt>
                <c:pt idx="2">
                  <c:v>39450</c:v>
                </c:pt>
                <c:pt idx="3">
                  <c:v>39451</c:v>
                </c:pt>
                <c:pt idx="4">
                  <c:v>39452</c:v>
                </c:pt>
                <c:pt idx="5">
                  <c:v>39453</c:v>
                </c:pt>
                <c:pt idx="6">
                  <c:v>39454</c:v>
                </c:pt>
                <c:pt idx="7">
                  <c:v>39455</c:v>
                </c:pt>
                <c:pt idx="8">
                  <c:v>39456</c:v>
                </c:pt>
                <c:pt idx="9">
                  <c:v>39457</c:v>
                </c:pt>
                <c:pt idx="10">
                  <c:v>39458</c:v>
                </c:pt>
                <c:pt idx="11">
                  <c:v>39459</c:v>
                </c:pt>
                <c:pt idx="12">
                  <c:v>39460</c:v>
                </c:pt>
                <c:pt idx="13">
                  <c:v>39461</c:v>
                </c:pt>
                <c:pt idx="14">
                  <c:v>39462</c:v>
                </c:pt>
                <c:pt idx="15">
                  <c:v>39463</c:v>
                </c:pt>
                <c:pt idx="16">
                  <c:v>39464</c:v>
                </c:pt>
                <c:pt idx="17">
                  <c:v>39465</c:v>
                </c:pt>
                <c:pt idx="18">
                  <c:v>39466</c:v>
                </c:pt>
                <c:pt idx="19">
                  <c:v>39467</c:v>
                </c:pt>
                <c:pt idx="20">
                  <c:v>39468</c:v>
                </c:pt>
                <c:pt idx="21">
                  <c:v>39469</c:v>
                </c:pt>
                <c:pt idx="22">
                  <c:v>39470</c:v>
                </c:pt>
                <c:pt idx="23">
                  <c:v>39471</c:v>
                </c:pt>
                <c:pt idx="24">
                  <c:v>39472</c:v>
                </c:pt>
                <c:pt idx="25">
                  <c:v>39473</c:v>
                </c:pt>
                <c:pt idx="26">
                  <c:v>39474</c:v>
                </c:pt>
                <c:pt idx="27">
                  <c:v>39475</c:v>
                </c:pt>
                <c:pt idx="28">
                  <c:v>39476</c:v>
                </c:pt>
                <c:pt idx="29">
                  <c:v>39477</c:v>
                </c:pt>
                <c:pt idx="30">
                  <c:v>39478</c:v>
                </c:pt>
                <c:pt idx="31">
                  <c:v>39479</c:v>
                </c:pt>
                <c:pt idx="32">
                  <c:v>39480</c:v>
                </c:pt>
                <c:pt idx="33">
                  <c:v>39481</c:v>
                </c:pt>
                <c:pt idx="34">
                  <c:v>39482</c:v>
                </c:pt>
                <c:pt idx="35">
                  <c:v>39483</c:v>
                </c:pt>
                <c:pt idx="36">
                  <c:v>39484</c:v>
                </c:pt>
                <c:pt idx="37">
                  <c:v>39485</c:v>
                </c:pt>
                <c:pt idx="38">
                  <c:v>39486</c:v>
                </c:pt>
                <c:pt idx="39">
                  <c:v>39487</c:v>
                </c:pt>
                <c:pt idx="40">
                  <c:v>39488</c:v>
                </c:pt>
                <c:pt idx="41">
                  <c:v>39489</c:v>
                </c:pt>
                <c:pt idx="42">
                  <c:v>39490</c:v>
                </c:pt>
                <c:pt idx="43">
                  <c:v>39491</c:v>
                </c:pt>
                <c:pt idx="44">
                  <c:v>39492</c:v>
                </c:pt>
                <c:pt idx="45">
                  <c:v>39493</c:v>
                </c:pt>
                <c:pt idx="46">
                  <c:v>39494</c:v>
                </c:pt>
                <c:pt idx="47">
                  <c:v>39495</c:v>
                </c:pt>
                <c:pt idx="48">
                  <c:v>39496</c:v>
                </c:pt>
                <c:pt idx="49">
                  <c:v>39497</c:v>
                </c:pt>
                <c:pt idx="50">
                  <c:v>39498</c:v>
                </c:pt>
                <c:pt idx="51">
                  <c:v>39499</c:v>
                </c:pt>
                <c:pt idx="52">
                  <c:v>39500</c:v>
                </c:pt>
                <c:pt idx="53">
                  <c:v>39501</c:v>
                </c:pt>
                <c:pt idx="54">
                  <c:v>39502</c:v>
                </c:pt>
                <c:pt idx="55">
                  <c:v>39503</c:v>
                </c:pt>
                <c:pt idx="56">
                  <c:v>39504</c:v>
                </c:pt>
                <c:pt idx="57">
                  <c:v>39505</c:v>
                </c:pt>
                <c:pt idx="58">
                  <c:v>39506</c:v>
                </c:pt>
                <c:pt idx="59">
                  <c:v>39507</c:v>
                </c:pt>
                <c:pt idx="60">
                  <c:v>39508</c:v>
                </c:pt>
                <c:pt idx="61">
                  <c:v>39509</c:v>
                </c:pt>
                <c:pt idx="62">
                  <c:v>39510</c:v>
                </c:pt>
                <c:pt idx="63">
                  <c:v>39511</c:v>
                </c:pt>
                <c:pt idx="64">
                  <c:v>39512</c:v>
                </c:pt>
                <c:pt idx="65">
                  <c:v>39513</c:v>
                </c:pt>
                <c:pt idx="66">
                  <c:v>39514</c:v>
                </c:pt>
                <c:pt idx="67">
                  <c:v>39515</c:v>
                </c:pt>
                <c:pt idx="68">
                  <c:v>39516</c:v>
                </c:pt>
                <c:pt idx="69">
                  <c:v>39517</c:v>
                </c:pt>
                <c:pt idx="70">
                  <c:v>39518</c:v>
                </c:pt>
                <c:pt idx="71">
                  <c:v>39519</c:v>
                </c:pt>
                <c:pt idx="72">
                  <c:v>39520</c:v>
                </c:pt>
                <c:pt idx="73">
                  <c:v>39521</c:v>
                </c:pt>
                <c:pt idx="74">
                  <c:v>39522</c:v>
                </c:pt>
                <c:pt idx="75">
                  <c:v>39523</c:v>
                </c:pt>
                <c:pt idx="76">
                  <c:v>39524</c:v>
                </c:pt>
                <c:pt idx="77">
                  <c:v>39525</c:v>
                </c:pt>
                <c:pt idx="78">
                  <c:v>39526</c:v>
                </c:pt>
                <c:pt idx="79">
                  <c:v>39527</c:v>
                </c:pt>
                <c:pt idx="80">
                  <c:v>39528</c:v>
                </c:pt>
                <c:pt idx="81">
                  <c:v>39529</c:v>
                </c:pt>
                <c:pt idx="82">
                  <c:v>39530</c:v>
                </c:pt>
                <c:pt idx="83">
                  <c:v>39531</c:v>
                </c:pt>
                <c:pt idx="84">
                  <c:v>39532</c:v>
                </c:pt>
                <c:pt idx="85">
                  <c:v>39533</c:v>
                </c:pt>
                <c:pt idx="86">
                  <c:v>39534</c:v>
                </c:pt>
                <c:pt idx="87">
                  <c:v>39535</c:v>
                </c:pt>
                <c:pt idx="88">
                  <c:v>39536</c:v>
                </c:pt>
                <c:pt idx="89">
                  <c:v>39537</c:v>
                </c:pt>
                <c:pt idx="90">
                  <c:v>39538</c:v>
                </c:pt>
                <c:pt idx="91">
                  <c:v>39539</c:v>
                </c:pt>
                <c:pt idx="92">
                  <c:v>39540</c:v>
                </c:pt>
                <c:pt idx="93">
                  <c:v>39541</c:v>
                </c:pt>
                <c:pt idx="94">
                  <c:v>39542</c:v>
                </c:pt>
                <c:pt idx="95">
                  <c:v>39543</c:v>
                </c:pt>
                <c:pt idx="96">
                  <c:v>39544</c:v>
                </c:pt>
                <c:pt idx="97">
                  <c:v>39545</c:v>
                </c:pt>
                <c:pt idx="98">
                  <c:v>39546</c:v>
                </c:pt>
                <c:pt idx="99">
                  <c:v>39547</c:v>
                </c:pt>
                <c:pt idx="100">
                  <c:v>39548</c:v>
                </c:pt>
                <c:pt idx="101">
                  <c:v>39549</c:v>
                </c:pt>
                <c:pt idx="102">
                  <c:v>39550</c:v>
                </c:pt>
                <c:pt idx="103">
                  <c:v>39551</c:v>
                </c:pt>
                <c:pt idx="104">
                  <c:v>39552</c:v>
                </c:pt>
                <c:pt idx="105">
                  <c:v>39553</c:v>
                </c:pt>
                <c:pt idx="106">
                  <c:v>39554</c:v>
                </c:pt>
                <c:pt idx="107">
                  <c:v>39555</c:v>
                </c:pt>
                <c:pt idx="108">
                  <c:v>39556</c:v>
                </c:pt>
                <c:pt idx="109">
                  <c:v>39557</c:v>
                </c:pt>
                <c:pt idx="110">
                  <c:v>39558</c:v>
                </c:pt>
                <c:pt idx="111">
                  <c:v>39559</c:v>
                </c:pt>
                <c:pt idx="112">
                  <c:v>39560</c:v>
                </c:pt>
                <c:pt idx="113">
                  <c:v>39561</c:v>
                </c:pt>
                <c:pt idx="114">
                  <c:v>39562</c:v>
                </c:pt>
                <c:pt idx="115">
                  <c:v>39563</c:v>
                </c:pt>
                <c:pt idx="116">
                  <c:v>39564</c:v>
                </c:pt>
                <c:pt idx="117">
                  <c:v>39565</c:v>
                </c:pt>
                <c:pt idx="118">
                  <c:v>39566</c:v>
                </c:pt>
                <c:pt idx="119">
                  <c:v>39567</c:v>
                </c:pt>
                <c:pt idx="120">
                  <c:v>39568</c:v>
                </c:pt>
                <c:pt idx="121">
                  <c:v>39569</c:v>
                </c:pt>
                <c:pt idx="122">
                  <c:v>39570</c:v>
                </c:pt>
                <c:pt idx="123">
                  <c:v>39571</c:v>
                </c:pt>
                <c:pt idx="124">
                  <c:v>39572</c:v>
                </c:pt>
                <c:pt idx="125">
                  <c:v>39573</c:v>
                </c:pt>
                <c:pt idx="126">
                  <c:v>39574</c:v>
                </c:pt>
                <c:pt idx="127">
                  <c:v>39575</c:v>
                </c:pt>
                <c:pt idx="128">
                  <c:v>39576</c:v>
                </c:pt>
                <c:pt idx="129">
                  <c:v>39577</c:v>
                </c:pt>
                <c:pt idx="130">
                  <c:v>39578</c:v>
                </c:pt>
                <c:pt idx="131">
                  <c:v>39579</c:v>
                </c:pt>
                <c:pt idx="132">
                  <c:v>39580</c:v>
                </c:pt>
                <c:pt idx="133">
                  <c:v>39581</c:v>
                </c:pt>
                <c:pt idx="134">
                  <c:v>39582</c:v>
                </c:pt>
                <c:pt idx="135">
                  <c:v>39583</c:v>
                </c:pt>
                <c:pt idx="136">
                  <c:v>39584</c:v>
                </c:pt>
                <c:pt idx="137">
                  <c:v>39585</c:v>
                </c:pt>
                <c:pt idx="138">
                  <c:v>39586</c:v>
                </c:pt>
                <c:pt idx="139">
                  <c:v>39587</c:v>
                </c:pt>
                <c:pt idx="140">
                  <c:v>39588</c:v>
                </c:pt>
                <c:pt idx="141">
                  <c:v>39589</c:v>
                </c:pt>
                <c:pt idx="142">
                  <c:v>39590</c:v>
                </c:pt>
                <c:pt idx="143">
                  <c:v>39591</c:v>
                </c:pt>
                <c:pt idx="144">
                  <c:v>39592</c:v>
                </c:pt>
                <c:pt idx="145">
                  <c:v>39593</c:v>
                </c:pt>
                <c:pt idx="146">
                  <c:v>39594</c:v>
                </c:pt>
                <c:pt idx="147">
                  <c:v>39595</c:v>
                </c:pt>
                <c:pt idx="148">
                  <c:v>39596</c:v>
                </c:pt>
                <c:pt idx="149">
                  <c:v>39597</c:v>
                </c:pt>
                <c:pt idx="150">
                  <c:v>39598</c:v>
                </c:pt>
                <c:pt idx="151">
                  <c:v>39599</c:v>
                </c:pt>
                <c:pt idx="152">
                  <c:v>39600</c:v>
                </c:pt>
                <c:pt idx="153">
                  <c:v>39601</c:v>
                </c:pt>
                <c:pt idx="154">
                  <c:v>39602</c:v>
                </c:pt>
                <c:pt idx="155">
                  <c:v>39603</c:v>
                </c:pt>
                <c:pt idx="156">
                  <c:v>39604</c:v>
                </c:pt>
                <c:pt idx="157">
                  <c:v>39605</c:v>
                </c:pt>
                <c:pt idx="158">
                  <c:v>39606</c:v>
                </c:pt>
                <c:pt idx="159">
                  <c:v>39607</c:v>
                </c:pt>
                <c:pt idx="160">
                  <c:v>39608</c:v>
                </c:pt>
                <c:pt idx="161">
                  <c:v>39609</c:v>
                </c:pt>
                <c:pt idx="162">
                  <c:v>39610</c:v>
                </c:pt>
                <c:pt idx="163">
                  <c:v>39611</c:v>
                </c:pt>
                <c:pt idx="164">
                  <c:v>39612</c:v>
                </c:pt>
                <c:pt idx="165">
                  <c:v>39613</c:v>
                </c:pt>
                <c:pt idx="166">
                  <c:v>39614</c:v>
                </c:pt>
                <c:pt idx="167">
                  <c:v>39615</c:v>
                </c:pt>
                <c:pt idx="168">
                  <c:v>39616</c:v>
                </c:pt>
                <c:pt idx="169">
                  <c:v>39617</c:v>
                </c:pt>
                <c:pt idx="170">
                  <c:v>39618</c:v>
                </c:pt>
                <c:pt idx="171">
                  <c:v>39619</c:v>
                </c:pt>
                <c:pt idx="172">
                  <c:v>39620</c:v>
                </c:pt>
                <c:pt idx="173">
                  <c:v>39621</c:v>
                </c:pt>
                <c:pt idx="174">
                  <c:v>39622</c:v>
                </c:pt>
                <c:pt idx="175">
                  <c:v>39623</c:v>
                </c:pt>
                <c:pt idx="176">
                  <c:v>39624</c:v>
                </c:pt>
                <c:pt idx="177">
                  <c:v>39625</c:v>
                </c:pt>
                <c:pt idx="178">
                  <c:v>39626</c:v>
                </c:pt>
                <c:pt idx="179">
                  <c:v>39627</c:v>
                </c:pt>
                <c:pt idx="180">
                  <c:v>39628</c:v>
                </c:pt>
                <c:pt idx="181">
                  <c:v>39629</c:v>
                </c:pt>
                <c:pt idx="182">
                  <c:v>39630</c:v>
                </c:pt>
                <c:pt idx="183">
                  <c:v>39631</c:v>
                </c:pt>
                <c:pt idx="184">
                  <c:v>39632</c:v>
                </c:pt>
                <c:pt idx="185">
                  <c:v>39633</c:v>
                </c:pt>
                <c:pt idx="186">
                  <c:v>39634</c:v>
                </c:pt>
                <c:pt idx="187">
                  <c:v>39635</c:v>
                </c:pt>
                <c:pt idx="188">
                  <c:v>39636</c:v>
                </c:pt>
                <c:pt idx="189">
                  <c:v>39637</c:v>
                </c:pt>
                <c:pt idx="190">
                  <c:v>39638</c:v>
                </c:pt>
                <c:pt idx="191">
                  <c:v>39639</c:v>
                </c:pt>
                <c:pt idx="192">
                  <c:v>39640</c:v>
                </c:pt>
                <c:pt idx="193">
                  <c:v>39641</c:v>
                </c:pt>
                <c:pt idx="194">
                  <c:v>39642</c:v>
                </c:pt>
                <c:pt idx="195">
                  <c:v>39643</c:v>
                </c:pt>
                <c:pt idx="196">
                  <c:v>39644</c:v>
                </c:pt>
                <c:pt idx="197">
                  <c:v>39645</c:v>
                </c:pt>
                <c:pt idx="198">
                  <c:v>39646</c:v>
                </c:pt>
                <c:pt idx="199">
                  <c:v>39647</c:v>
                </c:pt>
                <c:pt idx="200">
                  <c:v>39648</c:v>
                </c:pt>
                <c:pt idx="201">
                  <c:v>39649</c:v>
                </c:pt>
                <c:pt idx="202">
                  <c:v>39650</c:v>
                </c:pt>
                <c:pt idx="203">
                  <c:v>39651</c:v>
                </c:pt>
                <c:pt idx="204">
                  <c:v>39652</c:v>
                </c:pt>
                <c:pt idx="205">
                  <c:v>39653</c:v>
                </c:pt>
                <c:pt idx="206">
                  <c:v>39654</c:v>
                </c:pt>
                <c:pt idx="207">
                  <c:v>39655</c:v>
                </c:pt>
                <c:pt idx="208">
                  <c:v>39656</c:v>
                </c:pt>
                <c:pt idx="209">
                  <c:v>39657</c:v>
                </c:pt>
                <c:pt idx="210">
                  <c:v>39658</c:v>
                </c:pt>
                <c:pt idx="211">
                  <c:v>39659</c:v>
                </c:pt>
                <c:pt idx="212">
                  <c:v>39660</c:v>
                </c:pt>
                <c:pt idx="213">
                  <c:v>39661</c:v>
                </c:pt>
                <c:pt idx="214">
                  <c:v>39662</c:v>
                </c:pt>
                <c:pt idx="215">
                  <c:v>39663</c:v>
                </c:pt>
                <c:pt idx="216">
                  <c:v>39664</c:v>
                </c:pt>
                <c:pt idx="217">
                  <c:v>39665</c:v>
                </c:pt>
                <c:pt idx="218">
                  <c:v>39666</c:v>
                </c:pt>
                <c:pt idx="219">
                  <c:v>39667</c:v>
                </c:pt>
                <c:pt idx="220">
                  <c:v>39668</c:v>
                </c:pt>
                <c:pt idx="221">
                  <c:v>39669</c:v>
                </c:pt>
                <c:pt idx="222">
                  <c:v>39670</c:v>
                </c:pt>
                <c:pt idx="223">
                  <c:v>39671</c:v>
                </c:pt>
                <c:pt idx="224">
                  <c:v>39672</c:v>
                </c:pt>
                <c:pt idx="225">
                  <c:v>39673</c:v>
                </c:pt>
                <c:pt idx="226">
                  <c:v>39674</c:v>
                </c:pt>
                <c:pt idx="227">
                  <c:v>39675</c:v>
                </c:pt>
                <c:pt idx="228">
                  <c:v>39676</c:v>
                </c:pt>
                <c:pt idx="229">
                  <c:v>39677</c:v>
                </c:pt>
                <c:pt idx="230">
                  <c:v>39678</c:v>
                </c:pt>
                <c:pt idx="231">
                  <c:v>39679</c:v>
                </c:pt>
                <c:pt idx="232">
                  <c:v>39680</c:v>
                </c:pt>
                <c:pt idx="233">
                  <c:v>39681</c:v>
                </c:pt>
                <c:pt idx="234">
                  <c:v>39682</c:v>
                </c:pt>
                <c:pt idx="235">
                  <c:v>39683</c:v>
                </c:pt>
                <c:pt idx="236">
                  <c:v>39684</c:v>
                </c:pt>
                <c:pt idx="237">
                  <c:v>39685</c:v>
                </c:pt>
                <c:pt idx="238">
                  <c:v>39686</c:v>
                </c:pt>
                <c:pt idx="239">
                  <c:v>39687</c:v>
                </c:pt>
                <c:pt idx="240">
                  <c:v>39688</c:v>
                </c:pt>
                <c:pt idx="241">
                  <c:v>39689</c:v>
                </c:pt>
                <c:pt idx="242">
                  <c:v>39690</c:v>
                </c:pt>
                <c:pt idx="243">
                  <c:v>39691</c:v>
                </c:pt>
                <c:pt idx="244">
                  <c:v>39692</c:v>
                </c:pt>
                <c:pt idx="245">
                  <c:v>39693</c:v>
                </c:pt>
                <c:pt idx="246">
                  <c:v>39694</c:v>
                </c:pt>
                <c:pt idx="247">
                  <c:v>39695</c:v>
                </c:pt>
                <c:pt idx="248">
                  <c:v>39696</c:v>
                </c:pt>
                <c:pt idx="249">
                  <c:v>39697</c:v>
                </c:pt>
                <c:pt idx="250">
                  <c:v>39698</c:v>
                </c:pt>
                <c:pt idx="251">
                  <c:v>39699</c:v>
                </c:pt>
                <c:pt idx="252">
                  <c:v>39700</c:v>
                </c:pt>
                <c:pt idx="253">
                  <c:v>39701</c:v>
                </c:pt>
                <c:pt idx="254">
                  <c:v>39702</c:v>
                </c:pt>
                <c:pt idx="255">
                  <c:v>39703</c:v>
                </c:pt>
                <c:pt idx="256">
                  <c:v>39704</c:v>
                </c:pt>
                <c:pt idx="257">
                  <c:v>39705</c:v>
                </c:pt>
                <c:pt idx="258">
                  <c:v>39706</c:v>
                </c:pt>
                <c:pt idx="259">
                  <c:v>39707</c:v>
                </c:pt>
                <c:pt idx="260">
                  <c:v>39708</c:v>
                </c:pt>
                <c:pt idx="261">
                  <c:v>39709</c:v>
                </c:pt>
                <c:pt idx="262">
                  <c:v>39710</c:v>
                </c:pt>
                <c:pt idx="263">
                  <c:v>39711</c:v>
                </c:pt>
                <c:pt idx="264">
                  <c:v>39712</c:v>
                </c:pt>
                <c:pt idx="265">
                  <c:v>39713</c:v>
                </c:pt>
                <c:pt idx="266">
                  <c:v>39714</c:v>
                </c:pt>
                <c:pt idx="267">
                  <c:v>39715</c:v>
                </c:pt>
                <c:pt idx="268">
                  <c:v>39716</c:v>
                </c:pt>
                <c:pt idx="269">
                  <c:v>39717</c:v>
                </c:pt>
                <c:pt idx="270">
                  <c:v>39718</c:v>
                </c:pt>
                <c:pt idx="271">
                  <c:v>39719</c:v>
                </c:pt>
                <c:pt idx="272">
                  <c:v>39720</c:v>
                </c:pt>
                <c:pt idx="273">
                  <c:v>39721</c:v>
                </c:pt>
                <c:pt idx="274">
                  <c:v>39722</c:v>
                </c:pt>
                <c:pt idx="275">
                  <c:v>39723</c:v>
                </c:pt>
                <c:pt idx="276">
                  <c:v>39724</c:v>
                </c:pt>
                <c:pt idx="277">
                  <c:v>39725</c:v>
                </c:pt>
                <c:pt idx="278">
                  <c:v>39726</c:v>
                </c:pt>
                <c:pt idx="279">
                  <c:v>39727</c:v>
                </c:pt>
                <c:pt idx="280">
                  <c:v>39728</c:v>
                </c:pt>
                <c:pt idx="281">
                  <c:v>39729</c:v>
                </c:pt>
                <c:pt idx="282">
                  <c:v>39730</c:v>
                </c:pt>
                <c:pt idx="283">
                  <c:v>39731</c:v>
                </c:pt>
                <c:pt idx="284">
                  <c:v>39732</c:v>
                </c:pt>
                <c:pt idx="285">
                  <c:v>39733</c:v>
                </c:pt>
                <c:pt idx="286">
                  <c:v>39734</c:v>
                </c:pt>
                <c:pt idx="287">
                  <c:v>39735</c:v>
                </c:pt>
                <c:pt idx="288">
                  <c:v>39736</c:v>
                </c:pt>
                <c:pt idx="289">
                  <c:v>39737</c:v>
                </c:pt>
                <c:pt idx="290">
                  <c:v>39738</c:v>
                </c:pt>
                <c:pt idx="291">
                  <c:v>39739</c:v>
                </c:pt>
                <c:pt idx="292">
                  <c:v>39740</c:v>
                </c:pt>
                <c:pt idx="293">
                  <c:v>39741</c:v>
                </c:pt>
                <c:pt idx="294">
                  <c:v>39742</c:v>
                </c:pt>
                <c:pt idx="295">
                  <c:v>39743</c:v>
                </c:pt>
                <c:pt idx="296">
                  <c:v>39744</c:v>
                </c:pt>
                <c:pt idx="297">
                  <c:v>39745</c:v>
                </c:pt>
                <c:pt idx="298">
                  <c:v>39746</c:v>
                </c:pt>
                <c:pt idx="299">
                  <c:v>39747</c:v>
                </c:pt>
                <c:pt idx="300">
                  <c:v>39748</c:v>
                </c:pt>
                <c:pt idx="301">
                  <c:v>39749</c:v>
                </c:pt>
                <c:pt idx="302">
                  <c:v>39750</c:v>
                </c:pt>
                <c:pt idx="303">
                  <c:v>39751</c:v>
                </c:pt>
                <c:pt idx="304">
                  <c:v>39752</c:v>
                </c:pt>
                <c:pt idx="305">
                  <c:v>39753</c:v>
                </c:pt>
                <c:pt idx="306">
                  <c:v>39754</c:v>
                </c:pt>
                <c:pt idx="307">
                  <c:v>39755</c:v>
                </c:pt>
                <c:pt idx="308">
                  <c:v>39756</c:v>
                </c:pt>
                <c:pt idx="309">
                  <c:v>39757</c:v>
                </c:pt>
                <c:pt idx="310">
                  <c:v>39758</c:v>
                </c:pt>
                <c:pt idx="311">
                  <c:v>39759</c:v>
                </c:pt>
                <c:pt idx="312">
                  <c:v>39760</c:v>
                </c:pt>
                <c:pt idx="313">
                  <c:v>39761</c:v>
                </c:pt>
                <c:pt idx="314">
                  <c:v>39762</c:v>
                </c:pt>
                <c:pt idx="315">
                  <c:v>39763</c:v>
                </c:pt>
                <c:pt idx="316">
                  <c:v>39764</c:v>
                </c:pt>
                <c:pt idx="317">
                  <c:v>39765</c:v>
                </c:pt>
                <c:pt idx="318">
                  <c:v>39766</c:v>
                </c:pt>
                <c:pt idx="319">
                  <c:v>39767</c:v>
                </c:pt>
                <c:pt idx="320">
                  <c:v>39768</c:v>
                </c:pt>
                <c:pt idx="321">
                  <c:v>39769</c:v>
                </c:pt>
                <c:pt idx="322">
                  <c:v>39770</c:v>
                </c:pt>
                <c:pt idx="323">
                  <c:v>39771</c:v>
                </c:pt>
                <c:pt idx="324">
                  <c:v>39772</c:v>
                </c:pt>
                <c:pt idx="325">
                  <c:v>39773</c:v>
                </c:pt>
                <c:pt idx="326">
                  <c:v>39774</c:v>
                </c:pt>
                <c:pt idx="327">
                  <c:v>39775</c:v>
                </c:pt>
                <c:pt idx="328">
                  <c:v>39776</c:v>
                </c:pt>
                <c:pt idx="329">
                  <c:v>39777</c:v>
                </c:pt>
                <c:pt idx="330">
                  <c:v>39778</c:v>
                </c:pt>
                <c:pt idx="331">
                  <c:v>39779</c:v>
                </c:pt>
                <c:pt idx="332">
                  <c:v>39780</c:v>
                </c:pt>
                <c:pt idx="333">
                  <c:v>39781</c:v>
                </c:pt>
                <c:pt idx="334">
                  <c:v>39782</c:v>
                </c:pt>
                <c:pt idx="335">
                  <c:v>39783</c:v>
                </c:pt>
                <c:pt idx="336">
                  <c:v>39784</c:v>
                </c:pt>
                <c:pt idx="337">
                  <c:v>39785</c:v>
                </c:pt>
                <c:pt idx="338">
                  <c:v>39786</c:v>
                </c:pt>
                <c:pt idx="339">
                  <c:v>39787</c:v>
                </c:pt>
                <c:pt idx="340">
                  <c:v>39788</c:v>
                </c:pt>
                <c:pt idx="341">
                  <c:v>39789</c:v>
                </c:pt>
                <c:pt idx="342">
                  <c:v>39790</c:v>
                </c:pt>
                <c:pt idx="343">
                  <c:v>39791</c:v>
                </c:pt>
                <c:pt idx="344">
                  <c:v>39792</c:v>
                </c:pt>
                <c:pt idx="345">
                  <c:v>39793</c:v>
                </c:pt>
                <c:pt idx="346">
                  <c:v>39794</c:v>
                </c:pt>
                <c:pt idx="347">
                  <c:v>39795</c:v>
                </c:pt>
                <c:pt idx="348">
                  <c:v>39796</c:v>
                </c:pt>
                <c:pt idx="349">
                  <c:v>39797</c:v>
                </c:pt>
                <c:pt idx="350">
                  <c:v>39798</c:v>
                </c:pt>
                <c:pt idx="351">
                  <c:v>39799</c:v>
                </c:pt>
                <c:pt idx="352">
                  <c:v>39800</c:v>
                </c:pt>
                <c:pt idx="353">
                  <c:v>39801</c:v>
                </c:pt>
                <c:pt idx="354">
                  <c:v>39802</c:v>
                </c:pt>
                <c:pt idx="355">
                  <c:v>39803</c:v>
                </c:pt>
                <c:pt idx="356">
                  <c:v>39804</c:v>
                </c:pt>
                <c:pt idx="357">
                  <c:v>39805</c:v>
                </c:pt>
                <c:pt idx="358">
                  <c:v>39806</c:v>
                </c:pt>
                <c:pt idx="359">
                  <c:v>39807</c:v>
                </c:pt>
                <c:pt idx="360">
                  <c:v>39808</c:v>
                </c:pt>
                <c:pt idx="361">
                  <c:v>39809</c:v>
                </c:pt>
                <c:pt idx="362">
                  <c:v>39810</c:v>
                </c:pt>
                <c:pt idx="363">
                  <c:v>39811</c:v>
                </c:pt>
                <c:pt idx="364">
                  <c:v>39812</c:v>
                </c:pt>
                <c:pt idx="365">
                  <c:v>39813</c:v>
                </c:pt>
                <c:pt idx="366">
                  <c:v>39814</c:v>
                </c:pt>
                <c:pt idx="367">
                  <c:v>39815</c:v>
                </c:pt>
                <c:pt idx="368">
                  <c:v>39816</c:v>
                </c:pt>
                <c:pt idx="369">
                  <c:v>39817</c:v>
                </c:pt>
                <c:pt idx="370">
                  <c:v>39818</c:v>
                </c:pt>
                <c:pt idx="371">
                  <c:v>39819</c:v>
                </c:pt>
                <c:pt idx="372">
                  <c:v>39820</c:v>
                </c:pt>
                <c:pt idx="373">
                  <c:v>39821</c:v>
                </c:pt>
                <c:pt idx="374">
                  <c:v>39822</c:v>
                </c:pt>
                <c:pt idx="375">
                  <c:v>39823</c:v>
                </c:pt>
                <c:pt idx="376">
                  <c:v>39824</c:v>
                </c:pt>
                <c:pt idx="377">
                  <c:v>39825</c:v>
                </c:pt>
                <c:pt idx="378">
                  <c:v>39826</c:v>
                </c:pt>
                <c:pt idx="379">
                  <c:v>39827</c:v>
                </c:pt>
                <c:pt idx="380">
                  <c:v>39828</c:v>
                </c:pt>
                <c:pt idx="381">
                  <c:v>39829</c:v>
                </c:pt>
                <c:pt idx="382">
                  <c:v>39830</c:v>
                </c:pt>
                <c:pt idx="383">
                  <c:v>39831</c:v>
                </c:pt>
                <c:pt idx="384">
                  <c:v>39832</c:v>
                </c:pt>
                <c:pt idx="385">
                  <c:v>39833</c:v>
                </c:pt>
                <c:pt idx="386">
                  <c:v>39834</c:v>
                </c:pt>
                <c:pt idx="387">
                  <c:v>39835</c:v>
                </c:pt>
                <c:pt idx="388">
                  <c:v>39836</c:v>
                </c:pt>
                <c:pt idx="389">
                  <c:v>39837</c:v>
                </c:pt>
                <c:pt idx="390">
                  <c:v>39838</c:v>
                </c:pt>
                <c:pt idx="391">
                  <c:v>39839</c:v>
                </c:pt>
                <c:pt idx="392">
                  <c:v>39840</c:v>
                </c:pt>
                <c:pt idx="393">
                  <c:v>39841</c:v>
                </c:pt>
                <c:pt idx="394">
                  <c:v>39842</c:v>
                </c:pt>
                <c:pt idx="395">
                  <c:v>39843</c:v>
                </c:pt>
                <c:pt idx="396">
                  <c:v>39844</c:v>
                </c:pt>
                <c:pt idx="397">
                  <c:v>39845</c:v>
                </c:pt>
                <c:pt idx="398">
                  <c:v>39846</c:v>
                </c:pt>
                <c:pt idx="399">
                  <c:v>39847</c:v>
                </c:pt>
                <c:pt idx="400">
                  <c:v>39848</c:v>
                </c:pt>
                <c:pt idx="401">
                  <c:v>39849</c:v>
                </c:pt>
                <c:pt idx="402">
                  <c:v>39850</c:v>
                </c:pt>
                <c:pt idx="403">
                  <c:v>39851</c:v>
                </c:pt>
                <c:pt idx="404">
                  <c:v>39852</c:v>
                </c:pt>
                <c:pt idx="405">
                  <c:v>39853</c:v>
                </c:pt>
                <c:pt idx="406">
                  <c:v>39854</c:v>
                </c:pt>
                <c:pt idx="407">
                  <c:v>39855</c:v>
                </c:pt>
                <c:pt idx="408">
                  <c:v>39856</c:v>
                </c:pt>
                <c:pt idx="409">
                  <c:v>39857</c:v>
                </c:pt>
                <c:pt idx="410">
                  <c:v>39858</c:v>
                </c:pt>
                <c:pt idx="411">
                  <c:v>39859</c:v>
                </c:pt>
                <c:pt idx="412">
                  <c:v>39860</c:v>
                </c:pt>
                <c:pt idx="413">
                  <c:v>39861</c:v>
                </c:pt>
                <c:pt idx="414">
                  <c:v>39862</c:v>
                </c:pt>
                <c:pt idx="415">
                  <c:v>39863</c:v>
                </c:pt>
                <c:pt idx="416">
                  <c:v>39864</c:v>
                </c:pt>
                <c:pt idx="417">
                  <c:v>39865</c:v>
                </c:pt>
                <c:pt idx="418">
                  <c:v>39866</c:v>
                </c:pt>
                <c:pt idx="419">
                  <c:v>39867</c:v>
                </c:pt>
                <c:pt idx="420">
                  <c:v>39868</c:v>
                </c:pt>
                <c:pt idx="421">
                  <c:v>39869</c:v>
                </c:pt>
                <c:pt idx="422">
                  <c:v>39870</c:v>
                </c:pt>
                <c:pt idx="423">
                  <c:v>39871</c:v>
                </c:pt>
                <c:pt idx="424">
                  <c:v>39872</c:v>
                </c:pt>
                <c:pt idx="425">
                  <c:v>39873</c:v>
                </c:pt>
                <c:pt idx="426">
                  <c:v>39874</c:v>
                </c:pt>
                <c:pt idx="427">
                  <c:v>39875</c:v>
                </c:pt>
                <c:pt idx="428">
                  <c:v>39876</c:v>
                </c:pt>
                <c:pt idx="429">
                  <c:v>39877</c:v>
                </c:pt>
                <c:pt idx="430">
                  <c:v>39878</c:v>
                </c:pt>
                <c:pt idx="431">
                  <c:v>39879</c:v>
                </c:pt>
                <c:pt idx="432">
                  <c:v>39880</c:v>
                </c:pt>
                <c:pt idx="433">
                  <c:v>39881</c:v>
                </c:pt>
                <c:pt idx="434">
                  <c:v>39882</c:v>
                </c:pt>
                <c:pt idx="435">
                  <c:v>39883</c:v>
                </c:pt>
                <c:pt idx="436">
                  <c:v>39884</c:v>
                </c:pt>
                <c:pt idx="437">
                  <c:v>39885</c:v>
                </c:pt>
                <c:pt idx="438">
                  <c:v>39886</c:v>
                </c:pt>
                <c:pt idx="439">
                  <c:v>39887</c:v>
                </c:pt>
                <c:pt idx="440">
                  <c:v>39888</c:v>
                </c:pt>
                <c:pt idx="441">
                  <c:v>39889</c:v>
                </c:pt>
                <c:pt idx="442">
                  <c:v>39890</c:v>
                </c:pt>
                <c:pt idx="443">
                  <c:v>39891</c:v>
                </c:pt>
                <c:pt idx="444">
                  <c:v>39892</c:v>
                </c:pt>
                <c:pt idx="445">
                  <c:v>39893</c:v>
                </c:pt>
                <c:pt idx="446">
                  <c:v>39894</c:v>
                </c:pt>
                <c:pt idx="447">
                  <c:v>39895</c:v>
                </c:pt>
                <c:pt idx="448">
                  <c:v>39896</c:v>
                </c:pt>
                <c:pt idx="449">
                  <c:v>39897</c:v>
                </c:pt>
                <c:pt idx="450">
                  <c:v>39898</c:v>
                </c:pt>
                <c:pt idx="451">
                  <c:v>39899</c:v>
                </c:pt>
                <c:pt idx="452">
                  <c:v>39900</c:v>
                </c:pt>
                <c:pt idx="453">
                  <c:v>39901</c:v>
                </c:pt>
                <c:pt idx="454">
                  <c:v>39902</c:v>
                </c:pt>
                <c:pt idx="455">
                  <c:v>39903</c:v>
                </c:pt>
                <c:pt idx="456">
                  <c:v>39904</c:v>
                </c:pt>
                <c:pt idx="457">
                  <c:v>39905</c:v>
                </c:pt>
                <c:pt idx="458">
                  <c:v>39906</c:v>
                </c:pt>
                <c:pt idx="459">
                  <c:v>39907</c:v>
                </c:pt>
                <c:pt idx="460">
                  <c:v>39908</c:v>
                </c:pt>
                <c:pt idx="461">
                  <c:v>39909</c:v>
                </c:pt>
                <c:pt idx="462">
                  <c:v>39910</c:v>
                </c:pt>
                <c:pt idx="463">
                  <c:v>39911</c:v>
                </c:pt>
                <c:pt idx="464">
                  <c:v>39912</c:v>
                </c:pt>
                <c:pt idx="465">
                  <c:v>39913</c:v>
                </c:pt>
                <c:pt idx="466">
                  <c:v>39914</c:v>
                </c:pt>
                <c:pt idx="467">
                  <c:v>39915</c:v>
                </c:pt>
                <c:pt idx="468">
                  <c:v>39916</c:v>
                </c:pt>
                <c:pt idx="469">
                  <c:v>39917</c:v>
                </c:pt>
                <c:pt idx="470">
                  <c:v>39918</c:v>
                </c:pt>
                <c:pt idx="471">
                  <c:v>39919</c:v>
                </c:pt>
                <c:pt idx="472">
                  <c:v>39920</c:v>
                </c:pt>
                <c:pt idx="473">
                  <c:v>39921</c:v>
                </c:pt>
                <c:pt idx="474">
                  <c:v>39922</c:v>
                </c:pt>
                <c:pt idx="475">
                  <c:v>39923</c:v>
                </c:pt>
                <c:pt idx="476">
                  <c:v>39924</c:v>
                </c:pt>
                <c:pt idx="477">
                  <c:v>39925</c:v>
                </c:pt>
                <c:pt idx="478">
                  <c:v>39926</c:v>
                </c:pt>
                <c:pt idx="479">
                  <c:v>39927</c:v>
                </c:pt>
                <c:pt idx="480">
                  <c:v>39928</c:v>
                </c:pt>
                <c:pt idx="481">
                  <c:v>39929</c:v>
                </c:pt>
                <c:pt idx="482">
                  <c:v>39930</c:v>
                </c:pt>
                <c:pt idx="483">
                  <c:v>39931</c:v>
                </c:pt>
                <c:pt idx="484">
                  <c:v>39932</c:v>
                </c:pt>
                <c:pt idx="485">
                  <c:v>39933</c:v>
                </c:pt>
                <c:pt idx="486">
                  <c:v>39934</c:v>
                </c:pt>
                <c:pt idx="487">
                  <c:v>39935</c:v>
                </c:pt>
                <c:pt idx="488">
                  <c:v>39936</c:v>
                </c:pt>
                <c:pt idx="489">
                  <c:v>39937</c:v>
                </c:pt>
                <c:pt idx="490">
                  <c:v>39938</c:v>
                </c:pt>
                <c:pt idx="491">
                  <c:v>39939</c:v>
                </c:pt>
                <c:pt idx="492">
                  <c:v>39940</c:v>
                </c:pt>
                <c:pt idx="493">
                  <c:v>39941</c:v>
                </c:pt>
                <c:pt idx="494">
                  <c:v>39942</c:v>
                </c:pt>
                <c:pt idx="495">
                  <c:v>39943</c:v>
                </c:pt>
                <c:pt idx="496">
                  <c:v>39944</c:v>
                </c:pt>
                <c:pt idx="497">
                  <c:v>39945</c:v>
                </c:pt>
                <c:pt idx="498">
                  <c:v>39946</c:v>
                </c:pt>
                <c:pt idx="499">
                  <c:v>39947</c:v>
                </c:pt>
                <c:pt idx="500">
                  <c:v>39948</c:v>
                </c:pt>
                <c:pt idx="501">
                  <c:v>39949</c:v>
                </c:pt>
                <c:pt idx="502">
                  <c:v>39950</c:v>
                </c:pt>
                <c:pt idx="503">
                  <c:v>39951</c:v>
                </c:pt>
                <c:pt idx="504">
                  <c:v>39952</c:v>
                </c:pt>
                <c:pt idx="505">
                  <c:v>39953</c:v>
                </c:pt>
                <c:pt idx="506">
                  <c:v>39954</c:v>
                </c:pt>
                <c:pt idx="507">
                  <c:v>39955</c:v>
                </c:pt>
                <c:pt idx="508">
                  <c:v>39956</c:v>
                </c:pt>
                <c:pt idx="509">
                  <c:v>39957</c:v>
                </c:pt>
                <c:pt idx="510">
                  <c:v>39958</c:v>
                </c:pt>
                <c:pt idx="511">
                  <c:v>39959</c:v>
                </c:pt>
                <c:pt idx="512">
                  <c:v>39960</c:v>
                </c:pt>
                <c:pt idx="513">
                  <c:v>39961</c:v>
                </c:pt>
                <c:pt idx="514">
                  <c:v>39962</c:v>
                </c:pt>
                <c:pt idx="515">
                  <c:v>39963</c:v>
                </c:pt>
                <c:pt idx="516">
                  <c:v>39964</c:v>
                </c:pt>
                <c:pt idx="517">
                  <c:v>39965</c:v>
                </c:pt>
                <c:pt idx="518">
                  <c:v>39966</c:v>
                </c:pt>
                <c:pt idx="519">
                  <c:v>39967</c:v>
                </c:pt>
                <c:pt idx="520">
                  <c:v>39968</c:v>
                </c:pt>
                <c:pt idx="521">
                  <c:v>39969</c:v>
                </c:pt>
                <c:pt idx="522">
                  <c:v>39970</c:v>
                </c:pt>
                <c:pt idx="523">
                  <c:v>39971</c:v>
                </c:pt>
                <c:pt idx="524">
                  <c:v>39972</c:v>
                </c:pt>
                <c:pt idx="525">
                  <c:v>39973</c:v>
                </c:pt>
                <c:pt idx="526">
                  <c:v>39974</c:v>
                </c:pt>
                <c:pt idx="527">
                  <c:v>39975</c:v>
                </c:pt>
                <c:pt idx="528">
                  <c:v>39976</c:v>
                </c:pt>
                <c:pt idx="529">
                  <c:v>39977</c:v>
                </c:pt>
                <c:pt idx="530">
                  <c:v>39978</c:v>
                </c:pt>
                <c:pt idx="531">
                  <c:v>39979</c:v>
                </c:pt>
                <c:pt idx="532">
                  <c:v>39980</c:v>
                </c:pt>
                <c:pt idx="533">
                  <c:v>39981</c:v>
                </c:pt>
                <c:pt idx="534">
                  <c:v>39982</c:v>
                </c:pt>
                <c:pt idx="535">
                  <c:v>39983</c:v>
                </c:pt>
                <c:pt idx="536">
                  <c:v>39984</c:v>
                </c:pt>
                <c:pt idx="537">
                  <c:v>39985</c:v>
                </c:pt>
                <c:pt idx="538">
                  <c:v>39986</c:v>
                </c:pt>
                <c:pt idx="539">
                  <c:v>39987</c:v>
                </c:pt>
                <c:pt idx="540">
                  <c:v>39988</c:v>
                </c:pt>
                <c:pt idx="541">
                  <c:v>39989</c:v>
                </c:pt>
                <c:pt idx="542">
                  <c:v>39990</c:v>
                </c:pt>
                <c:pt idx="543">
                  <c:v>39991</c:v>
                </c:pt>
                <c:pt idx="544">
                  <c:v>39992</c:v>
                </c:pt>
                <c:pt idx="545">
                  <c:v>39993</c:v>
                </c:pt>
                <c:pt idx="546">
                  <c:v>39994</c:v>
                </c:pt>
                <c:pt idx="547">
                  <c:v>39995</c:v>
                </c:pt>
                <c:pt idx="548">
                  <c:v>39996</c:v>
                </c:pt>
                <c:pt idx="549">
                  <c:v>39997</c:v>
                </c:pt>
                <c:pt idx="550">
                  <c:v>39998</c:v>
                </c:pt>
                <c:pt idx="551">
                  <c:v>39999</c:v>
                </c:pt>
                <c:pt idx="552">
                  <c:v>40000</c:v>
                </c:pt>
                <c:pt idx="553">
                  <c:v>40001</c:v>
                </c:pt>
                <c:pt idx="554">
                  <c:v>40002</c:v>
                </c:pt>
                <c:pt idx="555">
                  <c:v>40003</c:v>
                </c:pt>
                <c:pt idx="556">
                  <c:v>40004</c:v>
                </c:pt>
                <c:pt idx="557">
                  <c:v>40005</c:v>
                </c:pt>
                <c:pt idx="558">
                  <c:v>40006</c:v>
                </c:pt>
                <c:pt idx="559">
                  <c:v>40007</c:v>
                </c:pt>
                <c:pt idx="560">
                  <c:v>40008</c:v>
                </c:pt>
                <c:pt idx="561">
                  <c:v>40009</c:v>
                </c:pt>
                <c:pt idx="562">
                  <c:v>40010</c:v>
                </c:pt>
                <c:pt idx="563">
                  <c:v>40011</c:v>
                </c:pt>
                <c:pt idx="564">
                  <c:v>40012</c:v>
                </c:pt>
                <c:pt idx="565">
                  <c:v>40013</c:v>
                </c:pt>
                <c:pt idx="566">
                  <c:v>40014</c:v>
                </c:pt>
                <c:pt idx="567">
                  <c:v>40015</c:v>
                </c:pt>
                <c:pt idx="568">
                  <c:v>40016</c:v>
                </c:pt>
                <c:pt idx="569">
                  <c:v>40017</c:v>
                </c:pt>
                <c:pt idx="570">
                  <c:v>40018</c:v>
                </c:pt>
                <c:pt idx="571">
                  <c:v>40019</c:v>
                </c:pt>
                <c:pt idx="572">
                  <c:v>40020</c:v>
                </c:pt>
                <c:pt idx="573">
                  <c:v>40021</c:v>
                </c:pt>
                <c:pt idx="574">
                  <c:v>40022</c:v>
                </c:pt>
                <c:pt idx="575">
                  <c:v>40023</c:v>
                </c:pt>
                <c:pt idx="576">
                  <c:v>40024</c:v>
                </c:pt>
                <c:pt idx="577">
                  <c:v>40025</c:v>
                </c:pt>
                <c:pt idx="578">
                  <c:v>40026</c:v>
                </c:pt>
                <c:pt idx="579">
                  <c:v>40027</c:v>
                </c:pt>
                <c:pt idx="580">
                  <c:v>40028</c:v>
                </c:pt>
                <c:pt idx="581">
                  <c:v>40029</c:v>
                </c:pt>
                <c:pt idx="582">
                  <c:v>40030</c:v>
                </c:pt>
                <c:pt idx="583">
                  <c:v>40031</c:v>
                </c:pt>
                <c:pt idx="584">
                  <c:v>40032</c:v>
                </c:pt>
                <c:pt idx="585">
                  <c:v>40033</c:v>
                </c:pt>
                <c:pt idx="586">
                  <c:v>40034</c:v>
                </c:pt>
                <c:pt idx="587">
                  <c:v>40035</c:v>
                </c:pt>
                <c:pt idx="588">
                  <c:v>40036</c:v>
                </c:pt>
                <c:pt idx="589">
                  <c:v>40037</c:v>
                </c:pt>
                <c:pt idx="590">
                  <c:v>40038</c:v>
                </c:pt>
                <c:pt idx="591">
                  <c:v>40039</c:v>
                </c:pt>
                <c:pt idx="592">
                  <c:v>40040</c:v>
                </c:pt>
                <c:pt idx="593">
                  <c:v>40041</c:v>
                </c:pt>
                <c:pt idx="594">
                  <c:v>40042</c:v>
                </c:pt>
                <c:pt idx="595">
                  <c:v>40043</c:v>
                </c:pt>
                <c:pt idx="596">
                  <c:v>40044</c:v>
                </c:pt>
                <c:pt idx="597">
                  <c:v>40045</c:v>
                </c:pt>
                <c:pt idx="598">
                  <c:v>40046</c:v>
                </c:pt>
                <c:pt idx="599">
                  <c:v>40047</c:v>
                </c:pt>
                <c:pt idx="600">
                  <c:v>40048</c:v>
                </c:pt>
                <c:pt idx="601">
                  <c:v>40049</c:v>
                </c:pt>
                <c:pt idx="602">
                  <c:v>40050</c:v>
                </c:pt>
                <c:pt idx="603">
                  <c:v>40051</c:v>
                </c:pt>
                <c:pt idx="604">
                  <c:v>40052</c:v>
                </c:pt>
                <c:pt idx="605">
                  <c:v>40053</c:v>
                </c:pt>
                <c:pt idx="606">
                  <c:v>40054</c:v>
                </c:pt>
                <c:pt idx="607">
                  <c:v>40055</c:v>
                </c:pt>
                <c:pt idx="608">
                  <c:v>40056</c:v>
                </c:pt>
                <c:pt idx="609">
                  <c:v>40057</c:v>
                </c:pt>
                <c:pt idx="610">
                  <c:v>40058</c:v>
                </c:pt>
                <c:pt idx="611">
                  <c:v>40059</c:v>
                </c:pt>
                <c:pt idx="612">
                  <c:v>40060</c:v>
                </c:pt>
                <c:pt idx="613">
                  <c:v>40061</c:v>
                </c:pt>
                <c:pt idx="614">
                  <c:v>40062</c:v>
                </c:pt>
                <c:pt idx="615">
                  <c:v>40063</c:v>
                </c:pt>
                <c:pt idx="616">
                  <c:v>40064</c:v>
                </c:pt>
                <c:pt idx="617">
                  <c:v>40065</c:v>
                </c:pt>
                <c:pt idx="618">
                  <c:v>40066</c:v>
                </c:pt>
                <c:pt idx="619">
                  <c:v>40067</c:v>
                </c:pt>
                <c:pt idx="620">
                  <c:v>40068</c:v>
                </c:pt>
                <c:pt idx="621">
                  <c:v>40069</c:v>
                </c:pt>
                <c:pt idx="622">
                  <c:v>40070</c:v>
                </c:pt>
                <c:pt idx="623">
                  <c:v>40071</c:v>
                </c:pt>
                <c:pt idx="624">
                  <c:v>40072</c:v>
                </c:pt>
                <c:pt idx="625">
                  <c:v>40073</c:v>
                </c:pt>
                <c:pt idx="626">
                  <c:v>40074</c:v>
                </c:pt>
                <c:pt idx="627">
                  <c:v>40075</c:v>
                </c:pt>
                <c:pt idx="628">
                  <c:v>40076</c:v>
                </c:pt>
                <c:pt idx="629">
                  <c:v>40077</c:v>
                </c:pt>
                <c:pt idx="630">
                  <c:v>40078</c:v>
                </c:pt>
                <c:pt idx="631">
                  <c:v>40079</c:v>
                </c:pt>
                <c:pt idx="632">
                  <c:v>40080</c:v>
                </c:pt>
                <c:pt idx="633">
                  <c:v>40081</c:v>
                </c:pt>
                <c:pt idx="634">
                  <c:v>40082</c:v>
                </c:pt>
                <c:pt idx="635">
                  <c:v>40083</c:v>
                </c:pt>
                <c:pt idx="636">
                  <c:v>40084</c:v>
                </c:pt>
                <c:pt idx="637">
                  <c:v>40085</c:v>
                </c:pt>
                <c:pt idx="638">
                  <c:v>40086</c:v>
                </c:pt>
                <c:pt idx="639">
                  <c:v>40087</c:v>
                </c:pt>
                <c:pt idx="640">
                  <c:v>40088</c:v>
                </c:pt>
                <c:pt idx="641">
                  <c:v>40089</c:v>
                </c:pt>
                <c:pt idx="642">
                  <c:v>40090</c:v>
                </c:pt>
                <c:pt idx="643">
                  <c:v>40091</c:v>
                </c:pt>
                <c:pt idx="644">
                  <c:v>40092</c:v>
                </c:pt>
                <c:pt idx="645">
                  <c:v>40093</c:v>
                </c:pt>
                <c:pt idx="646">
                  <c:v>40094</c:v>
                </c:pt>
                <c:pt idx="647">
                  <c:v>40095</c:v>
                </c:pt>
                <c:pt idx="648">
                  <c:v>40096</c:v>
                </c:pt>
                <c:pt idx="649">
                  <c:v>40097</c:v>
                </c:pt>
                <c:pt idx="650">
                  <c:v>40098</c:v>
                </c:pt>
                <c:pt idx="651">
                  <c:v>40099</c:v>
                </c:pt>
                <c:pt idx="652">
                  <c:v>40100</c:v>
                </c:pt>
                <c:pt idx="653">
                  <c:v>40101</c:v>
                </c:pt>
                <c:pt idx="654">
                  <c:v>40102</c:v>
                </c:pt>
                <c:pt idx="655">
                  <c:v>40103</c:v>
                </c:pt>
                <c:pt idx="656">
                  <c:v>40104</c:v>
                </c:pt>
                <c:pt idx="657">
                  <c:v>40105</c:v>
                </c:pt>
                <c:pt idx="658">
                  <c:v>40106</c:v>
                </c:pt>
                <c:pt idx="659">
                  <c:v>40107</c:v>
                </c:pt>
                <c:pt idx="660">
                  <c:v>40108</c:v>
                </c:pt>
                <c:pt idx="661">
                  <c:v>40109</c:v>
                </c:pt>
                <c:pt idx="662">
                  <c:v>40110</c:v>
                </c:pt>
                <c:pt idx="663">
                  <c:v>40111</c:v>
                </c:pt>
                <c:pt idx="664">
                  <c:v>40112</c:v>
                </c:pt>
                <c:pt idx="665">
                  <c:v>40113</c:v>
                </c:pt>
                <c:pt idx="666">
                  <c:v>40114</c:v>
                </c:pt>
                <c:pt idx="667">
                  <c:v>40115</c:v>
                </c:pt>
                <c:pt idx="668">
                  <c:v>40116</c:v>
                </c:pt>
                <c:pt idx="669">
                  <c:v>40117</c:v>
                </c:pt>
                <c:pt idx="670">
                  <c:v>40118</c:v>
                </c:pt>
                <c:pt idx="671">
                  <c:v>40119</c:v>
                </c:pt>
                <c:pt idx="672">
                  <c:v>40120</c:v>
                </c:pt>
                <c:pt idx="673">
                  <c:v>40121</c:v>
                </c:pt>
                <c:pt idx="674">
                  <c:v>40122</c:v>
                </c:pt>
                <c:pt idx="675">
                  <c:v>40123</c:v>
                </c:pt>
                <c:pt idx="676">
                  <c:v>40124</c:v>
                </c:pt>
                <c:pt idx="677">
                  <c:v>40125</c:v>
                </c:pt>
                <c:pt idx="678">
                  <c:v>40126</c:v>
                </c:pt>
                <c:pt idx="679">
                  <c:v>40127</c:v>
                </c:pt>
                <c:pt idx="680">
                  <c:v>40128</c:v>
                </c:pt>
                <c:pt idx="681">
                  <c:v>40129</c:v>
                </c:pt>
                <c:pt idx="682">
                  <c:v>40130</c:v>
                </c:pt>
                <c:pt idx="683">
                  <c:v>40131</c:v>
                </c:pt>
                <c:pt idx="684">
                  <c:v>40132</c:v>
                </c:pt>
                <c:pt idx="685">
                  <c:v>40133</c:v>
                </c:pt>
                <c:pt idx="686">
                  <c:v>40134</c:v>
                </c:pt>
                <c:pt idx="687">
                  <c:v>40135</c:v>
                </c:pt>
                <c:pt idx="688">
                  <c:v>40136</c:v>
                </c:pt>
                <c:pt idx="689">
                  <c:v>40137</c:v>
                </c:pt>
                <c:pt idx="690">
                  <c:v>40138</c:v>
                </c:pt>
                <c:pt idx="691">
                  <c:v>40139</c:v>
                </c:pt>
                <c:pt idx="692">
                  <c:v>40140</c:v>
                </c:pt>
                <c:pt idx="693">
                  <c:v>40141</c:v>
                </c:pt>
                <c:pt idx="694">
                  <c:v>40142</c:v>
                </c:pt>
                <c:pt idx="695">
                  <c:v>40143</c:v>
                </c:pt>
                <c:pt idx="696">
                  <c:v>40144</c:v>
                </c:pt>
                <c:pt idx="697">
                  <c:v>40145</c:v>
                </c:pt>
                <c:pt idx="698">
                  <c:v>40146</c:v>
                </c:pt>
                <c:pt idx="699">
                  <c:v>40147</c:v>
                </c:pt>
                <c:pt idx="700">
                  <c:v>40148</c:v>
                </c:pt>
                <c:pt idx="701">
                  <c:v>40149</c:v>
                </c:pt>
                <c:pt idx="702">
                  <c:v>40150</c:v>
                </c:pt>
                <c:pt idx="703">
                  <c:v>40151</c:v>
                </c:pt>
                <c:pt idx="704">
                  <c:v>40152</c:v>
                </c:pt>
                <c:pt idx="705">
                  <c:v>40153</c:v>
                </c:pt>
                <c:pt idx="706">
                  <c:v>40154</c:v>
                </c:pt>
                <c:pt idx="707">
                  <c:v>40155</c:v>
                </c:pt>
                <c:pt idx="708">
                  <c:v>40156</c:v>
                </c:pt>
                <c:pt idx="709">
                  <c:v>40157</c:v>
                </c:pt>
                <c:pt idx="710">
                  <c:v>40158</c:v>
                </c:pt>
                <c:pt idx="711">
                  <c:v>40159</c:v>
                </c:pt>
                <c:pt idx="712">
                  <c:v>40160</c:v>
                </c:pt>
                <c:pt idx="713">
                  <c:v>40161</c:v>
                </c:pt>
                <c:pt idx="714">
                  <c:v>40162</c:v>
                </c:pt>
                <c:pt idx="715">
                  <c:v>40163</c:v>
                </c:pt>
                <c:pt idx="716">
                  <c:v>40164</c:v>
                </c:pt>
                <c:pt idx="717">
                  <c:v>40165</c:v>
                </c:pt>
                <c:pt idx="718">
                  <c:v>40166</c:v>
                </c:pt>
                <c:pt idx="719">
                  <c:v>40167</c:v>
                </c:pt>
                <c:pt idx="720">
                  <c:v>40168</c:v>
                </c:pt>
                <c:pt idx="721">
                  <c:v>40169</c:v>
                </c:pt>
                <c:pt idx="722">
                  <c:v>40170</c:v>
                </c:pt>
                <c:pt idx="723">
                  <c:v>40171</c:v>
                </c:pt>
                <c:pt idx="724">
                  <c:v>40172</c:v>
                </c:pt>
                <c:pt idx="725">
                  <c:v>40173</c:v>
                </c:pt>
                <c:pt idx="726">
                  <c:v>40174</c:v>
                </c:pt>
                <c:pt idx="727">
                  <c:v>40175</c:v>
                </c:pt>
                <c:pt idx="728">
                  <c:v>40176</c:v>
                </c:pt>
                <c:pt idx="729">
                  <c:v>40177</c:v>
                </c:pt>
                <c:pt idx="730">
                  <c:v>40178</c:v>
                </c:pt>
                <c:pt idx="731">
                  <c:v>40179</c:v>
                </c:pt>
                <c:pt idx="732">
                  <c:v>40180</c:v>
                </c:pt>
                <c:pt idx="733">
                  <c:v>40181</c:v>
                </c:pt>
                <c:pt idx="734">
                  <c:v>40182</c:v>
                </c:pt>
                <c:pt idx="735">
                  <c:v>40183</c:v>
                </c:pt>
                <c:pt idx="736">
                  <c:v>40184</c:v>
                </c:pt>
                <c:pt idx="737">
                  <c:v>40185</c:v>
                </c:pt>
                <c:pt idx="738">
                  <c:v>40186</c:v>
                </c:pt>
                <c:pt idx="739">
                  <c:v>40187</c:v>
                </c:pt>
                <c:pt idx="740">
                  <c:v>40188</c:v>
                </c:pt>
                <c:pt idx="741">
                  <c:v>40189</c:v>
                </c:pt>
                <c:pt idx="742">
                  <c:v>40190</c:v>
                </c:pt>
                <c:pt idx="743">
                  <c:v>40191</c:v>
                </c:pt>
                <c:pt idx="744">
                  <c:v>40192</c:v>
                </c:pt>
                <c:pt idx="745">
                  <c:v>40193</c:v>
                </c:pt>
                <c:pt idx="746">
                  <c:v>40194</c:v>
                </c:pt>
                <c:pt idx="747">
                  <c:v>40195</c:v>
                </c:pt>
                <c:pt idx="748">
                  <c:v>40196</c:v>
                </c:pt>
                <c:pt idx="749">
                  <c:v>40197</c:v>
                </c:pt>
                <c:pt idx="750">
                  <c:v>40198</c:v>
                </c:pt>
                <c:pt idx="751">
                  <c:v>40199</c:v>
                </c:pt>
                <c:pt idx="752">
                  <c:v>40200</c:v>
                </c:pt>
                <c:pt idx="753">
                  <c:v>40201</c:v>
                </c:pt>
                <c:pt idx="754">
                  <c:v>40202</c:v>
                </c:pt>
                <c:pt idx="755">
                  <c:v>40203</c:v>
                </c:pt>
                <c:pt idx="756">
                  <c:v>40204</c:v>
                </c:pt>
                <c:pt idx="757">
                  <c:v>40205</c:v>
                </c:pt>
                <c:pt idx="758">
                  <c:v>40206</c:v>
                </c:pt>
                <c:pt idx="759">
                  <c:v>40207</c:v>
                </c:pt>
                <c:pt idx="760">
                  <c:v>40208</c:v>
                </c:pt>
                <c:pt idx="761">
                  <c:v>40209</c:v>
                </c:pt>
                <c:pt idx="762">
                  <c:v>40210</c:v>
                </c:pt>
                <c:pt idx="763">
                  <c:v>40211</c:v>
                </c:pt>
                <c:pt idx="764">
                  <c:v>40212</c:v>
                </c:pt>
                <c:pt idx="765">
                  <c:v>40213</c:v>
                </c:pt>
                <c:pt idx="766">
                  <c:v>40214</c:v>
                </c:pt>
                <c:pt idx="767">
                  <c:v>40215</c:v>
                </c:pt>
                <c:pt idx="768">
                  <c:v>40216</c:v>
                </c:pt>
                <c:pt idx="769">
                  <c:v>40217</c:v>
                </c:pt>
                <c:pt idx="770">
                  <c:v>40218</c:v>
                </c:pt>
                <c:pt idx="771">
                  <c:v>40219</c:v>
                </c:pt>
                <c:pt idx="772">
                  <c:v>40220</c:v>
                </c:pt>
                <c:pt idx="773">
                  <c:v>40221</c:v>
                </c:pt>
                <c:pt idx="774">
                  <c:v>40222</c:v>
                </c:pt>
                <c:pt idx="775">
                  <c:v>40223</c:v>
                </c:pt>
                <c:pt idx="776">
                  <c:v>40224</c:v>
                </c:pt>
                <c:pt idx="777">
                  <c:v>40225</c:v>
                </c:pt>
                <c:pt idx="778">
                  <c:v>40226</c:v>
                </c:pt>
                <c:pt idx="779">
                  <c:v>40227</c:v>
                </c:pt>
                <c:pt idx="780">
                  <c:v>40228</c:v>
                </c:pt>
                <c:pt idx="781">
                  <c:v>40229</c:v>
                </c:pt>
                <c:pt idx="782">
                  <c:v>40230</c:v>
                </c:pt>
                <c:pt idx="783">
                  <c:v>40231</c:v>
                </c:pt>
                <c:pt idx="784">
                  <c:v>40232</c:v>
                </c:pt>
                <c:pt idx="785">
                  <c:v>40233</c:v>
                </c:pt>
                <c:pt idx="786">
                  <c:v>40234</c:v>
                </c:pt>
                <c:pt idx="787">
                  <c:v>40235</c:v>
                </c:pt>
                <c:pt idx="788">
                  <c:v>40236</c:v>
                </c:pt>
                <c:pt idx="789">
                  <c:v>40237</c:v>
                </c:pt>
                <c:pt idx="790">
                  <c:v>40238</c:v>
                </c:pt>
                <c:pt idx="791">
                  <c:v>40239</c:v>
                </c:pt>
                <c:pt idx="792">
                  <c:v>40240</c:v>
                </c:pt>
                <c:pt idx="793">
                  <c:v>40241</c:v>
                </c:pt>
                <c:pt idx="794">
                  <c:v>40242</c:v>
                </c:pt>
                <c:pt idx="795">
                  <c:v>40243</c:v>
                </c:pt>
                <c:pt idx="796">
                  <c:v>40244</c:v>
                </c:pt>
                <c:pt idx="797">
                  <c:v>40245</c:v>
                </c:pt>
                <c:pt idx="798">
                  <c:v>40246</c:v>
                </c:pt>
                <c:pt idx="799">
                  <c:v>40247</c:v>
                </c:pt>
                <c:pt idx="800">
                  <c:v>40248</c:v>
                </c:pt>
                <c:pt idx="801">
                  <c:v>40249</c:v>
                </c:pt>
                <c:pt idx="802">
                  <c:v>40250</c:v>
                </c:pt>
                <c:pt idx="803">
                  <c:v>40251</c:v>
                </c:pt>
                <c:pt idx="804">
                  <c:v>40252</c:v>
                </c:pt>
                <c:pt idx="805">
                  <c:v>40253</c:v>
                </c:pt>
                <c:pt idx="806">
                  <c:v>40254</c:v>
                </c:pt>
                <c:pt idx="807">
                  <c:v>40255</c:v>
                </c:pt>
                <c:pt idx="808">
                  <c:v>40256</c:v>
                </c:pt>
                <c:pt idx="809">
                  <c:v>40257</c:v>
                </c:pt>
                <c:pt idx="810">
                  <c:v>40258</c:v>
                </c:pt>
                <c:pt idx="811">
                  <c:v>40259</c:v>
                </c:pt>
                <c:pt idx="812">
                  <c:v>40260</c:v>
                </c:pt>
                <c:pt idx="813">
                  <c:v>40261</c:v>
                </c:pt>
                <c:pt idx="814">
                  <c:v>40262</c:v>
                </c:pt>
                <c:pt idx="815">
                  <c:v>40263</c:v>
                </c:pt>
                <c:pt idx="816">
                  <c:v>40264</c:v>
                </c:pt>
                <c:pt idx="817">
                  <c:v>40265</c:v>
                </c:pt>
                <c:pt idx="818">
                  <c:v>40266</c:v>
                </c:pt>
                <c:pt idx="819">
                  <c:v>40267</c:v>
                </c:pt>
                <c:pt idx="820">
                  <c:v>40268</c:v>
                </c:pt>
                <c:pt idx="821">
                  <c:v>40269</c:v>
                </c:pt>
                <c:pt idx="822">
                  <c:v>40270</c:v>
                </c:pt>
                <c:pt idx="823">
                  <c:v>40271</c:v>
                </c:pt>
                <c:pt idx="824">
                  <c:v>40272</c:v>
                </c:pt>
                <c:pt idx="825">
                  <c:v>40273</c:v>
                </c:pt>
                <c:pt idx="826">
                  <c:v>40274</c:v>
                </c:pt>
                <c:pt idx="827">
                  <c:v>40275</c:v>
                </c:pt>
                <c:pt idx="828">
                  <c:v>40276</c:v>
                </c:pt>
                <c:pt idx="829">
                  <c:v>40277</c:v>
                </c:pt>
                <c:pt idx="830">
                  <c:v>40278</c:v>
                </c:pt>
                <c:pt idx="831">
                  <c:v>40279</c:v>
                </c:pt>
                <c:pt idx="832">
                  <c:v>40280</c:v>
                </c:pt>
                <c:pt idx="833">
                  <c:v>40281</c:v>
                </c:pt>
                <c:pt idx="834">
                  <c:v>40282</c:v>
                </c:pt>
                <c:pt idx="835">
                  <c:v>40283</c:v>
                </c:pt>
                <c:pt idx="836">
                  <c:v>40284</c:v>
                </c:pt>
                <c:pt idx="837">
                  <c:v>40285</c:v>
                </c:pt>
                <c:pt idx="838">
                  <c:v>40286</c:v>
                </c:pt>
                <c:pt idx="839">
                  <c:v>40287</c:v>
                </c:pt>
                <c:pt idx="840">
                  <c:v>40288</c:v>
                </c:pt>
                <c:pt idx="841">
                  <c:v>40289</c:v>
                </c:pt>
                <c:pt idx="842">
                  <c:v>40290</c:v>
                </c:pt>
                <c:pt idx="843">
                  <c:v>40291</c:v>
                </c:pt>
                <c:pt idx="844">
                  <c:v>40292</c:v>
                </c:pt>
                <c:pt idx="845">
                  <c:v>40293</c:v>
                </c:pt>
                <c:pt idx="846">
                  <c:v>40294</c:v>
                </c:pt>
                <c:pt idx="847">
                  <c:v>40295</c:v>
                </c:pt>
                <c:pt idx="848">
                  <c:v>40296</c:v>
                </c:pt>
                <c:pt idx="849">
                  <c:v>40297</c:v>
                </c:pt>
                <c:pt idx="850">
                  <c:v>40298</c:v>
                </c:pt>
                <c:pt idx="851">
                  <c:v>40299</c:v>
                </c:pt>
                <c:pt idx="852">
                  <c:v>40300</c:v>
                </c:pt>
                <c:pt idx="853">
                  <c:v>40301</c:v>
                </c:pt>
                <c:pt idx="854">
                  <c:v>40302</c:v>
                </c:pt>
                <c:pt idx="855">
                  <c:v>40303</c:v>
                </c:pt>
                <c:pt idx="856">
                  <c:v>40304</c:v>
                </c:pt>
                <c:pt idx="857">
                  <c:v>40305</c:v>
                </c:pt>
                <c:pt idx="858">
                  <c:v>40306</c:v>
                </c:pt>
                <c:pt idx="859">
                  <c:v>40307</c:v>
                </c:pt>
                <c:pt idx="860">
                  <c:v>40308</c:v>
                </c:pt>
                <c:pt idx="861">
                  <c:v>40309</c:v>
                </c:pt>
                <c:pt idx="862">
                  <c:v>40310</c:v>
                </c:pt>
                <c:pt idx="863">
                  <c:v>40311</c:v>
                </c:pt>
                <c:pt idx="864">
                  <c:v>40312</c:v>
                </c:pt>
                <c:pt idx="865">
                  <c:v>40313</c:v>
                </c:pt>
                <c:pt idx="866">
                  <c:v>40314</c:v>
                </c:pt>
                <c:pt idx="867">
                  <c:v>40315</c:v>
                </c:pt>
                <c:pt idx="868">
                  <c:v>40316</c:v>
                </c:pt>
                <c:pt idx="869">
                  <c:v>40317</c:v>
                </c:pt>
                <c:pt idx="870">
                  <c:v>40318</c:v>
                </c:pt>
                <c:pt idx="871">
                  <c:v>40319</c:v>
                </c:pt>
                <c:pt idx="872">
                  <c:v>40320</c:v>
                </c:pt>
                <c:pt idx="873">
                  <c:v>40321</c:v>
                </c:pt>
                <c:pt idx="874">
                  <c:v>40322</c:v>
                </c:pt>
                <c:pt idx="875">
                  <c:v>40323</c:v>
                </c:pt>
                <c:pt idx="876">
                  <c:v>40324</c:v>
                </c:pt>
                <c:pt idx="877">
                  <c:v>40325</c:v>
                </c:pt>
                <c:pt idx="878">
                  <c:v>40326</c:v>
                </c:pt>
                <c:pt idx="879">
                  <c:v>40327</c:v>
                </c:pt>
                <c:pt idx="880">
                  <c:v>40328</c:v>
                </c:pt>
                <c:pt idx="881">
                  <c:v>40329</c:v>
                </c:pt>
                <c:pt idx="882">
                  <c:v>40330</c:v>
                </c:pt>
                <c:pt idx="883">
                  <c:v>40331</c:v>
                </c:pt>
                <c:pt idx="884">
                  <c:v>40332</c:v>
                </c:pt>
                <c:pt idx="885">
                  <c:v>40333</c:v>
                </c:pt>
                <c:pt idx="886">
                  <c:v>40334</c:v>
                </c:pt>
                <c:pt idx="887">
                  <c:v>40335</c:v>
                </c:pt>
                <c:pt idx="888">
                  <c:v>40336</c:v>
                </c:pt>
                <c:pt idx="889">
                  <c:v>40337</c:v>
                </c:pt>
                <c:pt idx="890">
                  <c:v>40338</c:v>
                </c:pt>
                <c:pt idx="891">
                  <c:v>40339</c:v>
                </c:pt>
                <c:pt idx="892">
                  <c:v>40340</c:v>
                </c:pt>
                <c:pt idx="893">
                  <c:v>40341</c:v>
                </c:pt>
                <c:pt idx="894">
                  <c:v>40342</c:v>
                </c:pt>
                <c:pt idx="895">
                  <c:v>40343</c:v>
                </c:pt>
                <c:pt idx="896">
                  <c:v>40344</c:v>
                </c:pt>
                <c:pt idx="897">
                  <c:v>40345</c:v>
                </c:pt>
                <c:pt idx="898">
                  <c:v>40346</c:v>
                </c:pt>
                <c:pt idx="899">
                  <c:v>40347</c:v>
                </c:pt>
                <c:pt idx="900">
                  <c:v>40348</c:v>
                </c:pt>
                <c:pt idx="901">
                  <c:v>40349</c:v>
                </c:pt>
                <c:pt idx="902">
                  <c:v>40350</c:v>
                </c:pt>
                <c:pt idx="903">
                  <c:v>40351</c:v>
                </c:pt>
                <c:pt idx="904">
                  <c:v>40352</c:v>
                </c:pt>
                <c:pt idx="905">
                  <c:v>40353</c:v>
                </c:pt>
                <c:pt idx="906">
                  <c:v>40354</c:v>
                </c:pt>
                <c:pt idx="907">
                  <c:v>40355</c:v>
                </c:pt>
                <c:pt idx="908">
                  <c:v>40356</c:v>
                </c:pt>
                <c:pt idx="909">
                  <c:v>40357</c:v>
                </c:pt>
                <c:pt idx="910">
                  <c:v>40358</c:v>
                </c:pt>
                <c:pt idx="911">
                  <c:v>40359</c:v>
                </c:pt>
                <c:pt idx="912">
                  <c:v>40360</c:v>
                </c:pt>
                <c:pt idx="913">
                  <c:v>40361</c:v>
                </c:pt>
                <c:pt idx="914">
                  <c:v>40362</c:v>
                </c:pt>
                <c:pt idx="915">
                  <c:v>40363</c:v>
                </c:pt>
                <c:pt idx="916">
                  <c:v>40364</c:v>
                </c:pt>
                <c:pt idx="917">
                  <c:v>40365</c:v>
                </c:pt>
                <c:pt idx="918">
                  <c:v>40366</c:v>
                </c:pt>
                <c:pt idx="919">
                  <c:v>40367</c:v>
                </c:pt>
                <c:pt idx="920">
                  <c:v>40368</c:v>
                </c:pt>
                <c:pt idx="921">
                  <c:v>40369</c:v>
                </c:pt>
                <c:pt idx="922">
                  <c:v>40370</c:v>
                </c:pt>
                <c:pt idx="923">
                  <c:v>40371</c:v>
                </c:pt>
                <c:pt idx="924">
                  <c:v>40372</c:v>
                </c:pt>
                <c:pt idx="925">
                  <c:v>40373</c:v>
                </c:pt>
                <c:pt idx="926">
                  <c:v>40374</c:v>
                </c:pt>
                <c:pt idx="927">
                  <c:v>40375</c:v>
                </c:pt>
                <c:pt idx="928">
                  <c:v>40376</c:v>
                </c:pt>
                <c:pt idx="929">
                  <c:v>40377</c:v>
                </c:pt>
                <c:pt idx="930">
                  <c:v>40378</c:v>
                </c:pt>
                <c:pt idx="931">
                  <c:v>40379</c:v>
                </c:pt>
                <c:pt idx="932">
                  <c:v>40380</c:v>
                </c:pt>
                <c:pt idx="933">
                  <c:v>40381</c:v>
                </c:pt>
                <c:pt idx="934">
                  <c:v>40382</c:v>
                </c:pt>
                <c:pt idx="935">
                  <c:v>40383</c:v>
                </c:pt>
                <c:pt idx="936">
                  <c:v>40384</c:v>
                </c:pt>
                <c:pt idx="937">
                  <c:v>40385</c:v>
                </c:pt>
                <c:pt idx="938">
                  <c:v>40386</c:v>
                </c:pt>
                <c:pt idx="939">
                  <c:v>40387</c:v>
                </c:pt>
                <c:pt idx="940">
                  <c:v>40388</c:v>
                </c:pt>
                <c:pt idx="941">
                  <c:v>40389</c:v>
                </c:pt>
                <c:pt idx="942">
                  <c:v>40390</c:v>
                </c:pt>
                <c:pt idx="943">
                  <c:v>40391</c:v>
                </c:pt>
                <c:pt idx="944">
                  <c:v>40392</c:v>
                </c:pt>
                <c:pt idx="945">
                  <c:v>40393</c:v>
                </c:pt>
                <c:pt idx="946">
                  <c:v>40394</c:v>
                </c:pt>
                <c:pt idx="947">
                  <c:v>40395</c:v>
                </c:pt>
                <c:pt idx="948">
                  <c:v>40396</c:v>
                </c:pt>
                <c:pt idx="949">
                  <c:v>40397</c:v>
                </c:pt>
                <c:pt idx="950">
                  <c:v>40398</c:v>
                </c:pt>
                <c:pt idx="951">
                  <c:v>40399</c:v>
                </c:pt>
                <c:pt idx="952">
                  <c:v>40400</c:v>
                </c:pt>
                <c:pt idx="953">
                  <c:v>40401</c:v>
                </c:pt>
                <c:pt idx="954">
                  <c:v>40402</c:v>
                </c:pt>
                <c:pt idx="955">
                  <c:v>40403</c:v>
                </c:pt>
                <c:pt idx="956">
                  <c:v>40404</c:v>
                </c:pt>
                <c:pt idx="957">
                  <c:v>40405</c:v>
                </c:pt>
                <c:pt idx="958">
                  <c:v>40406</c:v>
                </c:pt>
                <c:pt idx="959">
                  <c:v>40407</c:v>
                </c:pt>
                <c:pt idx="960">
                  <c:v>40408</c:v>
                </c:pt>
                <c:pt idx="961">
                  <c:v>40409</c:v>
                </c:pt>
                <c:pt idx="962">
                  <c:v>40410</c:v>
                </c:pt>
                <c:pt idx="963">
                  <c:v>40411</c:v>
                </c:pt>
                <c:pt idx="964">
                  <c:v>40412</c:v>
                </c:pt>
                <c:pt idx="965">
                  <c:v>40413</c:v>
                </c:pt>
                <c:pt idx="966">
                  <c:v>40414</c:v>
                </c:pt>
                <c:pt idx="967">
                  <c:v>40415</c:v>
                </c:pt>
                <c:pt idx="968">
                  <c:v>40416</c:v>
                </c:pt>
                <c:pt idx="969">
                  <c:v>40417</c:v>
                </c:pt>
                <c:pt idx="970">
                  <c:v>40418</c:v>
                </c:pt>
                <c:pt idx="971">
                  <c:v>40419</c:v>
                </c:pt>
                <c:pt idx="972">
                  <c:v>40420</c:v>
                </c:pt>
                <c:pt idx="973">
                  <c:v>40421</c:v>
                </c:pt>
                <c:pt idx="974">
                  <c:v>40422</c:v>
                </c:pt>
                <c:pt idx="975">
                  <c:v>40423</c:v>
                </c:pt>
                <c:pt idx="976">
                  <c:v>40424</c:v>
                </c:pt>
                <c:pt idx="977">
                  <c:v>40425</c:v>
                </c:pt>
                <c:pt idx="978">
                  <c:v>40426</c:v>
                </c:pt>
                <c:pt idx="979">
                  <c:v>40427</c:v>
                </c:pt>
                <c:pt idx="980">
                  <c:v>40428</c:v>
                </c:pt>
                <c:pt idx="981">
                  <c:v>40429</c:v>
                </c:pt>
                <c:pt idx="982">
                  <c:v>40430</c:v>
                </c:pt>
                <c:pt idx="983">
                  <c:v>40431</c:v>
                </c:pt>
                <c:pt idx="984">
                  <c:v>40432</c:v>
                </c:pt>
                <c:pt idx="985">
                  <c:v>40433</c:v>
                </c:pt>
                <c:pt idx="986">
                  <c:v>40434</c:v>
                </c:pt>
                <c:pt idx="987">
                  <c:v>40435</c:v>
                </c:pt>
                <c:pt idx="988">
                  <c:v>40436</c:v>
                </c:pt>
                <c:pt idx="989">
                  <c:v>40437</c:v>
                </c:pt>
                <c:pt idx="990">
                  <c:v>40438</c:v>
                </c:pt>
                <c:pt idx="991">
                  <c:v>40439</c:v>
                </c:pt>
                <c:pt idx="992">
                  <c:v>40440</c:v>
                </c:pt>
                <c:pt idx="993">
                  <c:v>40441</c:v>
                </c:pt>
                <c:pt idx="994">
                  <c:v>40442</c:v>
                </c:pt>
                <c:pt idx="995">
                  <c:v>40443</c:v>
                </c:pt>
                <c:pt idx="996">
                  <c:v>40444</c:v>
                </c:pt>
                <c:pt idx="997">
                  <c:v>40445</c:v>
                </c:pt>
                <c:pt idx="998">
                  <c:v>40446</c:v>
                </c:pt>
                <c:pt idx="999">
                  <c:v>40447</c:v>
                </c:pt>
                <c:pt idx="1000">
                  <c:v>40448</c:v>
                </c:pt>
                <c:pt idx="1001">
                  <c:v>40449</c:v>
                </c:pt>
                <c:pt idx="1002">
                  <c:v>40450</c:v>
                </c:pt>
                <c:pt idx="1003">
                  <c:v>40451</c:v>
                </c:pt>
                <c:pt idx="1004">
                  <c:v>40452</c:v>
                </c:pt>
                <c:pt idx="1005">
                  <c:v>40453</c:v>
                </c:pt>
                <c:pt idx="1006">
                  <c:v>40454</c:v>
                </c:pt>
                <c:pt idx="1007">
                  <c:v>40455</c:v>
                </c:pt>
                <c:pt idx="1008">
                  <c:v>40456</c:v>
                </c:pt>
                <c:pt idx="1009">
                  <c:v>40457</c:v>
                </c:pt>
                <c:pt idx="1010">
                  <c:v>40458</c:v>
                </c:pt>
                <c:pt idx="1011">
                  <c:v>40459</c:v>
                </c:pt>
                <c:pt idx="1012">
                  <c:v>40460</c:v>
                </c:pt>
                <c:pt idx="1013">
                  <c:v>40461</c:v>
                </c:pt>
                <c:pt idx="1014">
                  <c:v>40462</c:v>
                </c:pt>
                <c:pt idx="1015">
                  <c:v>40463</c:v>
                </c:pt>
                <c:pt idx="1016">
                  <c:v>40464</c:v>
                </c:pt>
                <c:pt idx="1017">
                  <c:v>40465</c:v>
                </c:pt>
                <c:pt idx="1018">
                  <c:v>40466</c:v>
                </c:pt>
                <c:pt idx="1019">
                  <c:v>40467</c:v>
                </c:pt>
                <c:pt idx="1020">
                  <c:v>40468</c:v>
                </c:pt>
                <c:pt idx="1021">
                  <c:v>40469</c:v>
                </c:pt>
                <c:pt idx="1022">
                  <c:v>40470</c:v>
                </c:pt>
                <c:pt idx="1023">
                  <c:v>40471</c:v>
                </c:pt>
                <c:pt idx="1024">
                  <c:v>40472</c:v>
                </c:pt>
                <c:pt idx="1025">
                  <c:v>40473</c:v>
                </c:pt>
                <c:pt idx="1026">
                  <c:v>40474</c:v>
                </c:pt>
                <c:pt idx="1027">
                  <c:v>40475</c:v>
                </c:pt>
                <c:pt idx="1028">
                  <c:v>40476</c:v>
                </c:pt>
                <c:pt idx="1029">
                  <c:v>40477</c:v>
                </c:pt>
                <c:pt idx="1030">
                  <c:v>40478</c:v>
                </c:pt>
                <c:pt idx="1031">
                  <c:v>40479</c:v>
                </c:pt>
                <c:pt idx="1032">
                  <c:v>40480</c:v>
                </c:pt>
                <c:pt idx="1033">
                  <c:v>40481</c:v>
                </c:pt>
                <c:pt idx="1034">
                  <c:v>40482</c:v>
                </c:pt>
                <c:pt idx="1035">
                  <c:v>40483</c:v>
                </c:pt>
                <c:pt idx="1036">
                  <c:v>40484</c:v>
                </c:pt>
                <c:pt idx="1037">
                  <c:v>40485</c:v>
                </c:pt>
                <c:pt idx="1038">
                  <c:v>40486</c:v>
                </c:pt>
                <c:pt idx="1039">
                  <c:v>40487</c:v>
                </c:pt>
                <c:pt idx="1040">
                  <c:v>40488</c:v>
                </c:pt>
                <c:pt idx="1041">
                  <c:v>40489</c:v>
                </c:pt>
                <c:pt idx="1042">
                  <c:v>40490</c:v>
                </c:pt>
                <c:pt idx="1043">
                  <c:v>40491</c:v>
                </c:pt>
                <c:pt idx="1044">
                  <c:v>40492</c:v>
                </c:pt>
                <c:pt idx="1045">
                  <c:v>40493</c:v>
                </c:pt>
                <c:pt idx="1046">
                  <c:v>40494</c:v>
                </c:pt>
                <c:pt idx="1047">
                  <c:v>40495</c:v>
                </c:pt>
                <c:pt idx="1048">
                  <c:v>40496</c:v>
                </c:pt>
                <c:pt idx="1049">
                  <c:v>40497</c:v>
                </c:pt>
                <c:pt idx="1050">
                  <c:v>40498</c:v>
                </c:pt>
                <c:pt idx="1051">
                  <c:v>40499</c:v>
                </c:pt>
                <c:pt idx="1052">
                  <c:v>40500</c:v>
                </c:pt>
                <c:pt idx="1053">
                  <c:v>40501</c:v>
                </c:pt>
                <c:pt idx="1054">
                  <c:v>40502</c:v>
                </c:pt>
                <c:pt idx="1055">
                  <c:v>40503</c:v>
                </c:pt>
                <c:pt idx="1056">
                  <c:v>40504</c:v>
                </c:pt>
                <c:pt idx="1057">
                  <c:v>40505</c:v>
                </c:pt>
                <c:pt idx="1058">
                  <c:v>40506</c:v>
                </c:pt>
                <c:pt idx="1059">
                  <c:v>40507</c:v>
                </c:pt>
                <c:pt idx="1060">
                  <c:v>40508</c:v>
                </c:pt>
                <c:pt idx="1061">
                  <c:v>40509</c:v>
                </c:pt>
                <c:pt idx="1062">
                  <c:v>40510</c:v>
                </c:pt>
                <c:pt idx="1063">
                  <c:v>40511</c:v>
                </c:pt>
                <c:pt idx="1064">
                  <c:v>40512</c:v>
                </c:pt>
                <c:pt idx="1065">
                  <c:v>40513</c:v>
                </c:pt>
                <c:pt idx="1066">
                  <c:v>40514</c:v>
                </c:pt>
                <c:pt idx="1067">
                  <c:v>40515</c:v>
                </c:pt>
                <c:pt idx="1068">
                  <c:v>40516</c:v>
                </c:pt>
                <c:pt idx="1069">
                  <c:v>40517</c:v>
                </c:pt>
                <c:pt idx="1070">
                  <c:v>40518</c:v>
                </c:pt>
                <c:pt idx="1071">
                  <c:v>40519</c:v>
                </c:pt>
                <c:pt idx="1072">
                  <c:v>40520</c:v>
                </c:pt>
                <c:pt idx="1073">
                  <c:v>40521</c:v>
                </c:pt>
                <c:pt idx="1074">
                  <c:v>40522</c:v>
                </c:pt>
                <c:pt idx="1075">
                  <c:v>40523</c:v>
                </c:pt>
                <c:pt idx="1076">
                  <c:v>40524</c:v>
                </c:pt>
                <c:pt idx="1077">
                  <c:v>40525</c:v>
                </c:pt>
                <c:pt idx="1078">
                  <c:v>40526</c:v>
                </c:pt>
                <c:pt idx="1079">
                  <c:v>40527</c:v>
                </c:pt>
                <c:pt idx="1080">
                  <c:v>40528</c:v>
                </c:pt>
                <c:pt idx="1081">
                  <c:v>40529</c:v>
                </c:pt>
                <c:pt idx="1082">
                  <c:v>40530</c:v>
                </c:pt>
                <c:pt idx="1083">
                  <c:v>40531</c:v>
                </c:pt>
                <c:pt idx="1084">
                  <c:v>40532</c:v>
                </c:pt>
                <c:pt idx="1085">
                  <c:v>40533</c:v>
                </c:pt>
                <c:pt idx="1086">
                  <c:v>40534</c:v>
                </c:pt>
                <c:pt idx="1087">
                  <c:v>40535</c:v>
                </c:pt>
                <c:pt idx="1088">
                  <c:v>40536</c:v>
                </c:pt>
                <c:pt idx="1089">
                  <c:v>40537</c:v>
                </c:pt>
                <c:pt idx="1090">
                  <c:v>40538</c:v>
                </c:pt>
                <c:pt idx="1091">
                  <c:v>40539</c:v>
                </c:pt>
                <c:pt idx="1092">
                  <c:v>40540</c:v>
                </c:pt>
                <c:pt idx="1093">
                  <c:v>40541</c:v>
                </c:pt>
                <c:pt idx="1094">
                  <c:v>40542</c:v>
                </c:pt>
                <c:pt idx="1095">
                  <c:v>40543</c:v>
                </c:pt>
                <c:pt idx="1096">
                  <c:v>40544</c:v>
                </c:pt>
                <c:pt idx="1097">
                  <c:v>40545</c:v>
                </c:pt>
                <c:pt idx="1098">
                  <c:v>40546</c:v>
                </c:pt>
                <c:pt idx="1099">
                  <c:v>40547</c:v>
                </c:pt>
                <c:pt idx="1100">
                  <c:v>40548</c:v>
                </c:pt>
                <c:pt idx="1101">
                  <c:v>40549</c:v>
                </c:pt>
                <c:pt idx="1102">
                  <c:v>40550</c:v>
                </c:pt>
                <c:pt idx="1103">
                  <c:v>40551</c:v>
                </c:pt>
                <c:pt idx="1104">
                  <c:v>40552</c:v>
                </c:pt>
                <c:pt idx="1105">
                  <c:v>40553</c:v>
                </c:pt>
                <c:pt idx="1106">
                  <c:v>40554</c:v>
                </c:pt>
                <c:pt idx="1107">
                  <c:v>40555</c:v>
                </c:pt>
                <c:pt idx="1108">
                  <c:v>40556</c:v>
                </c:pt>
                <c:pt idx="1109">
                  <c:v>40557</c:v>
                </c:pt>
                <c:pt idx="1110">
                  <c:v>40558</c:v>
                </c:pt>
                <c:pt idx="1111">
                  <c:v>40559</c:v>
                </c:pt>
                <c:pt idx="1112">
                  <c:v>40560</c:v>
                </c:pt>
                <c:pt idx="1113">
                  <c:v>40561</c:v>
                </c:pt>
                <c:pt idx="1114">
                  <c:v>40562</c:v>
                </c:pt>
                <c:pt idx="1115">
                  <c:v>40563</c:v>
                </c:pt>
                <c:pt idx="1116">
                  <c:v>40564</c:v>
                </c:pt>
                <c:pt idx="1117">
                  <c:v>40565</c:v>
                </c:pt>
                <c:pt idx="1118">
                  <c:v>40566</c:v>
                </c:pt>
                <c:pt idx="1119">
                  <c:v>40567</c:v>
                </c:pt>
                <c:pt idx="1120">
                  <c:v>40568</c:v>
                </c:pt>
                <c:pt idx="1121">
                  <c:v>40569</c:v>
                </c:pt>
                <c:pt idx="1122">
                  <c:v>40570</c:v>
                </c:pt>
                <c:pt idx="1123">
                  <c:v>40571</c:v>
                </c:pt>
                <c:pt idx="1124">
                  <c:v>40572</c:v>
                </c:pt>
                <c:pt idx="1125">
                  <c:v>40573</c:v>
                </c:pt>
                <c:pt idx="1126">
                  <c:v>40574</c:v>
                </c:pt>
                <c:pt idx="1127">
                  <c:v>40575</c:v>
                </c:pt>
                <c:pt idx="1128">
                  <c:v>40576</c:v>
                </c:pt>
                <c:pt idx="1129">
                  <c:v>40577</c:v>
                </c:pt>
                <c:pt idx="1130">
                  <c:v>40578</c:v>
                </c:pt>
                <c:pt idx="1131">
                  <c:v>40579</c:v>
                </c:pt>
                <c:pt idx="1132">
                  <c:v>40580</c:v>
                </c:pt>
                <c:pt idx="1133">
                  <c:v>40581</c:v>
                </c:pt>
                <c:pt idx="1134">
                  <c:v>40582</c:v>
                </c:pt>
                <c:pt idx="1135">
                  <c:v>40583</c:v>
                </c:pt>
                <c:pt idx="1136">
                  <c:v>40584</c:v>
                </c:pt>
                <c:pt idx="1137">
                  <c:v>40585</c:v>
                </c:pt>
                <c:pt idx="1138">
                  <c:v>40586</c:v>
                </c:pt>
                <c:pt idx="1139">
                  <c:v>40587</c:v>
                </c:pt>
                <c:pt idx="1140">
                  <c:v>40588</c:v>
                </c:pt>
                <c:pt idx="1141">
                  <c:v>40589</c:v>
                </c:pt>
                <c:pt idx="1142">
                  <c:v>40590</c:v>
                </c:pt>
                <c:pt idx="1143">
                  <c:v>40591</c:v>
                </c:pt>
                <c:pt idx="1144">
                  <c:v>40592</c:v>
                </c:pt>
                <c:pt idx="1145">
                  <c:v>40593</c:v>
                </c:pt>
                <c:pt idx="1146">
                  <c:v>40594</c:v>
                </c:pt>
                <c:pt idx="1147">
                  <c:v>40595</c:v>
                </c:pt>
                <c:pt idx="1148">
                  <c:v>40596</c:v>
                </c:pt>
                <c:pt idx="1149">
                  <c:v>40597</c:v>
                </c:pt>
                <c:pt idx="1150">
                  <c:v>40598</c:v>
                </c:pt>
                <c:pt idx="1151">
                  <c:v>40599</c:v>
                </c:pt>
                <c:pt idx="1152">
                  <c:v>40600</c:v>
                </c:pt>
                <c:pt idx="1153">
                  <c:v>40601</c:v>
                </c:pt>
                <c:pt idx="1154">
                  <c:v>40602</c:v>
                </c:pt>
                <c:pt idx="1155">
                  <c:v>40603</c:v>
                </c:pt>
                <c:pt idx="1156">
                  <c:v>40604</c:v>
                </c:pt>
                <c:pt idx="1157">
                  <c:v>40605</c:v>
                </c:pt>
                <c:pt idx="1158">
                  <c:v>40606</c:v>
                </c:pt>
                <c:pt idx="1159">
                  <c:v>40607</c:v>
                </c:pt>
                <c:pt idx="1160">
                  <c:v>40608</c:v>
                </c:pt>
                <c:pt idx="1161">
                  <c:v>40609</c:v>
                </c:pt>
                <c:pt idx="1162">
                  <c:v>40610</c:v>
                </c:pt>
                <c:pt idx="1163">
                  <c:v>40611</c:v>
                </c:pt>
                <c:pt idx="1164">
                  <c:v>40612</c:v>
                </c:pt>
                <c:pt idx="1165">
                  <c:v>40613</c:v>
                </c:pt>
                <c:pt idx="1166">
                  <c:v>40614</c:v>
                </c:pt>
                <c:pt idx="1167">
                  <c:v>40615</c:v>
                </c:pt>
                <c:pt idx="1168">
                  <c:v>40616</c:v>
                </c:pt>
                <c:pt idx="1169">
                  <c:v>40617</c:v>
                </c:pt>
                <c:pt idx="1170">
                  <c:v>40618</c:v>
                </c:pt>
                <c:pt idx="1171">
                  <c:v>40619</c:v>
                </c:pt>
                <c:pt idx="1172">
                  <c:v>40620</c:v>
                </c:pt>
                <c:pt idx="1173">
                  <c:v>40621</c:v>
                </c:pt>
                <c:pt idx="1174">
                  <c:v>40622</c:v>
                </c:pt>
                <c:pt idx="1175">
                  <c:v>40623</c:v>
                </c:pt>
                <c:pt idx="1176">
                  <c:v>40624</c:v>
                </c:pt>
                <c:pt idx="1177">
                  <c:v>40625</c:v>
                </c:pt>
                <c:pt idx="1178">
                  <c:v>40626</c:v>
                </c:pt>
                <c:pt idx="1179">
                  <c:v>40627</c:v>
                </c:pt>
                <c:pt idx="1180">
                  <c:v>40628</c:v>
                </c:pt>
                <c:pt idx="1181">
                  <c:v>40629</c:v>
                </c:pt>
                <c:pt idx="1182">
                  <c:v>40630</c:v>
                </c:pt>
                <c:pt idx="1183">
                  <c:v>40631</c:v>
                </c:pt>
                <c:pt idx="1184">
                  <c:v>40632</c:v>
                </c:pt>
                <c:pt idx="1185">
                  <c:v>40633</c:v>
                </c:pt>
                <c:pt idx="1186">
                  <c:v>40634</c:v>
                </c:pt>
                <c:pt idx="1187">
                  <c:v>40635</c:v>
                </c:pt>
                <c:pt idx="1188">
                  <c:v>40636</c:v>
                </c:pt>
                <c:pt idx="1189">
                  <c:v>40637</c:v>
                </c:pt>
                <c:pt idx="1190">
                  <c:v>40638</c:v>
                </c:pt>
                <c:pt idx="1191">
                  <c:v>40639</c:v>
                </c:pt>
                <c:pt idx="1192">
                  <c:v>40640</c:v>
                </c:pt>
                <c:pt idx="1193">
                  <c:v>40641</c:v>
                </c:pt>
                <c:pt idx="1194">
                  <c:v>40642</c:v>
                </c:pt>
                <c:pt idx="1195">
                  <c:v>40643</c:v>
                </c:pt>
                <c:pt idx="1196">
                  <c:v>40644</c:v>
                </c:pt>
                <c:pt idx="1197">
                  <c:v>40645</c:v>
                </c:pt>
                <c:pt idx="1198">
                  <c:v>40646</c:v>
                </c:pt>
                <c:pt idx="1199">
                  <c:v>40647</c:v>
                </c:pt>
                <c:pt idx="1200">
                  <c:v>40648</c:v>
                </c:pt>
                <c:pt idx="1201">
                  <c:v>40649</c:v>
                </c:pt>
                <c:pt idx="1202">
                  <c:v>40650</c:v>
                </c:pt>
                <c:pt idx="1203">
                  <c:v>40651</c:v>
                </c:pt>
                <c:pt idx="1204">
                  <c:v>40652</c:v>
                </c:pt>
                <c:pt idx="1205">
                  <c:v>40653</c:v>
                </c:pt>
                <c:pt idx="1206">
                  <c:v>40654</c:v>
                </c:pt>
                <c:pt idx="1207">
                  <c:v>40655</c:v>
                </c:pt>
                <c:pt idx="1208">
                  <c:v>40656</c:v>
                </c:pt>
                <c:pt idx="1209">
                  <c:v>40657</c:v>
                </c:pt>
                <c:pt idx="1210">
                  <c:v>40658</c:v>
                </c:pt>
                <c:pt idx="1211">
                  <c:v>40659</c:v>
                </c:pt>
                <c:pt idx="1212">
                  <c:v>40660</c:v>
                </c:pt>
                <c:pt idx="1213">
                  <c:v>40661</c:v>
                </c:pt>
                <c:pt idx="1214">
                  <c:v>40662</c:v>
                </c:pt>
                <c:pt idx="1215">
                  <c:v>40663</c:v>
                </c:pt>
                <c:pt idx="1216">
                  <c:v>40664</c:v>
                </c:pt>
                <c:pt idx="1217">
                  <c:v>40665</c:v>
                </c:pt>
                <c:pt idx="1218">
                  <c:v>40666</c:v>
                </c:pt>
                <c:pt idx="1219">
                  <c:v>40667</c:v>
                </c:pt>
                <c:pt idx="1220">
                  <c:v>40668</c:v>
                </c:pt>
                <c:pt idx="1221">
                  <c:v>40669</c:v>
                </c:pt>
                <c:pt idx="1222">
                  <c:v>40670</c:v>
                </c:pt>
                <c:pt idx="1223">
                  <c:v>40671</c:v>
                </c:pt>
                <c:pt idx="1224">
                  <c:v>40672</c:v>
                </c:pt>
                <c:pt idx="1225">
                  <c:v>40673</c:v>
                </c:pt>
                <c:pt idx="1226">
                  <c:v>40674</c:v>
                </c:pt>
                <c:pt idx="1227">
                  <c:v>40675</c:v>
                </c:pt>
                <c:pt idx="1228">
                  <c:v>40676</c:v>
                </c:pt>
                <c:pt idx="1229">
                  <c:v>40677</c:v>
                </c:pt>
                <c:pt idx="1230">
                  <c:v>40678</c:v>
                </c:pt>
                <c:pt idx="1231">
                  <c:v>40679</c:v>
                </c:pt>
                <c:pt idx="1232">
                  <c:v>40680</c:v>
                </c:pt>
                <c:pt idx="1233">
                  <c:v>40681</c:v>
                </c:pt>
                <c:pt idx="1234">
                  <c:v>40682</c:v>
                </c:pt>
                <c:pt idx="1235">
                  <c:v>40683</c:v>
                </c:pt>
                <c:pt idx="1236">
                  <c:v>40684</c:v>
                </c:pt>
                <c:pt idx="1237">
                  <c:v>40685</c:v>
                </c:pt>
                <c:pt idx="1238">
                  <c:v>40686</c:v>
                </c:pt>
                <c:pt idx="1239">
                  <c:v>40687</c:v>
                </c:pt>
                <c:pt idx="1240">
                  <c:v>40688</c:v>
                </c:pt>
                <c:pt idx="1241">
                  <c:v>40689</c:v>
                </c:pt>
                <c:pt idx="1242">
                  <c:v>40690</c:v>
                </c:pt>
                <c:pt idx="1243">
                  <c:v>40691</c:v>
                </c:pt>
                <c:pt idx="1244">
                  <c:v>40692</c:v>
                </c:pt>
                <c:pt idx="1245">
                  <c:v>40693</c:v>
                </c:pt>
                <c:pt idx="1246">
                  <c:v>40694</c:v>
                </c:pt>
                <c:pt idx="1247">
                  <c:v>40695</c:v>
                </c:pt>
                <c:pt idx="1248">
                  <c:v>40696</c:v>
                </c:pt>
                <c:pt idx="1249">
                  <c:v>40697</c:v>
                </c:pt>
                <c:pt idx="1250">
                  <c:v>40698</c:v>
                </c:pt>
                <c:pt idx="1251">
                  <c:v>40699</c:v>
                </c:pt>
                <c:pt idx="1252">
                  <c:v>40700</c:v>
                </c:pt>
                <c:pt idx="1253">
                  <c:v>40701</c:v>
                </c:pt>
                <c:pt idx="1254">
                  <c:v>40702</c:v>
                </c:pt>
                <c:pt idx="1255">
                  <c:v>40703</c:v>
                </c:pt>
                <c:pt idx="1256">
                  <c:v>40704</c:v>
                </c:pt>
                <c:pt idx="1257">
                  <c:v>40705</c:v>
                </c:pt>
                <c:pt idx="1258">
                  <c:v>40706</c:v>
                </c:pt>
                <c:pt idx="1259">
                  <c:v>40707</c:v>
                </c:pt>
                <c:pt idx="1260">
                  <c:v>40708</c:v>
                </c:pt>
                <c:pt idx="1261">
                  <c:v>40709</c:v>
                </c:pt>
                <c:pt idx="1262">
                  <c:v>40710</c:v>
                </c:pt>
                <c:pt idx="1263">
                  <c:v>40711</c:v>
                </c:pt>
                <c:pt idx="1264">
                  <c:v>40712</c:v>
                </c:pt>
                <c:pt idx="1265">
                  <c:v>40713</c:v>
                </c:pt>
                <c:pt idx="1266">
                  <c:v>40714</c:v>
                </c:pt>
                <c:pt idx="1267">
                  <c:v>40715</c:v>
                </c:pt>
                <c:pt idx="1268">
                  <c:v>40716</c:v>
                </c:pt>
                <c:pt idx="1269">
                  <c:v>40717</c:v>
                </c:pt>
                <c:pt idx="1270">
                  <c:v>40718</c:v>
                </c:pt>
                <c:pt idx="1271">
                  <c:v>40719</c:v>
                </c:pt>
                <c:pt idx="1272">
                  <c:v>40720</c:v>
                </c:pt>
                <c:pt idx="1273">
                  <c:v>40721</c:v>
                </c:pt>
                <c:pt idx="1274">
                  <c:v>40722</c:v>
                </c:pt>
                <c:pt idx="1275">
                  <c:v>40723</c:v>
                </c:pt>
                <c:pt idx="1276">
                  <c:v>40724</c:v>
                </c:pt>
                <c:pt idx="1277">
                  <c:v>40725</c:v>
                </c:pt>
                <c:pt idx="1278">
                  <c:v>40726</c:v>
                </c:pt>
                <c:pt idx="1279">
                  <c:v>40727</c:v>
                </c:pt>
                <c:pt idx="1280">
                  <c:v>40728</c:v>
                </c:pt>
                <c:pt idx="1281">
                  <c:v>40729</c:v>
                </c:pt>
                <c:pt idx="1282">
                  <c:v>40730</c:v>
                </c:pt>
                <c:pt idx="1283">
                  <c:v>40731</c:v>
                </c:pt>
                <c:pt idx="1284">
                  <c:v>40732</c:v>
                </c:pt>
                <c:pt idx="1285">
                  <c:v>40733</c:v>
                </c:pt>
                <c:pt idx="1286">
                  <c:v>40734</c:v>
                </c:pt>
                <c:pt idx="1287">
                  <c:v>40735</c:v>
                </c:pt>
                <c:pt idx="1288">
                  <c:v>40736</c:v>
                </c:pt>
                <c:pt idx="1289">
                  <c:v>40737</c:v>
                </c:pt>
                <c:pt idx="1290">
                  <c:v>40738</c:v>
                </c:pt>
                <c:pt idx="1291">
                  <c:v>40739</c:v>
                </c:pt>
                <c:pt idx="1292">
                  <c:v>40740</c:v>
                </c:pt>
                <c:pt idx="1293">
                  <c:v>40741</c:v>
                </c:pt>
                <c:pt idx="1294">
                  <c:v>40742</c:v>
                </c:pt>
                <c:pt idx="1295">
                  <c:v>40743</c:v>
                </c:pt>
                <c:pt idx="1296">
                  <c:v>40744</c:v>
                </c:pt>
                <c:pt idx="1297">
                  <c:v>40745</c:v>
                </c:pt>
                <c:pt idx="1298">
                  <c:v>40746</c:v>
                </c:pt>
                <c:pt idx="1299">
                  <c:v>40747</c:v>
                </c:pt>
                <c:pt idx="1300">
                  <c:v>40748</c:v>
                </c:pt>
                <c:pt idx="1301">
                  <c:v>40749</c:v>
                </c:pt>
                <c:pt idx="1302">
                  <c:v>40750</c:v>
                </c:pt>
                <c:pt idx="1303">
                  <c:v>40751</c:v>
                </c:pt>
                <c:pt idx="1304">
                  <c:v>40752</c:v>
                </c:pt>
                <c:pt idx="1305">
                  <c:v>40753</c:v>
                </c:pt>
                <c:pt idx="1306">
                  <c:v>40754</c:v>
                </c:pt>
                <c:pt idx="1307">
                  <c:v>40755</c:v>
                </c:pt>
                <c:pt idx="1308">
                  <c:v>40756</c:v>
                </c:pt>
                <c:pt idx="1309">
                  <c:v>40757</c:v>
                </c:pt>
                <c:pt idx="1310">
                  <c:v>40758</c:v>
                </c:pt>
                <c:pt idx="1311">
                  <c:v>40759</c:v>
                </c:pt>
                <c:pt idx="1312">
                  <c:v>40760</c:v>
                </c:pt>
                <c:pt idx="1313">
                  <c:v>40761</c:v>
                </c:pt>
                <c:pt idx="1314">
                  <c:v>40762</c:v>
                </c:pt>
                <c:pt idx="1315">
                  <c:v>40763</c:v>
                </c:pt>
                <c:pt idx="1316">
                  <c:v>40764</c:v>
                </c:pt>
                <c:pt idx="1317">
                  <c:v>40765</c:v>
                </c:pt>
                <c:pt idx="1318">
                  <c:v>40766</c:v>
                </c:pt>
                <c:pt idx="1319">
                  <c:v>40767</c:v>
                </c:pt>
                <c:pt idx="1320">
                  <c:v>40768</c:v>
                </c:pt>
                <c:pt idx="1321">
                  <c:v>40769</c:v>
                </c:pt>
                <c:pt idx="1322">
                  <c:v>40770</c:v>
                </c:pt>
                <c:pt idx="1323">
                  <c:v>40771</c:v>
                </c:pt>
                <c:pt idx="1324">
                  <c:v>40772</c:v>
                </c:pt>
                <c:pt idx="1325">
                  <c:v>40773</c:v>
                </c:pt>
                <c:pt idx="1326">
                  <c:v>40774</c:v>
                </c:pt>
                <c:pt idx="1327">
                  <c:v>40775</c:v>
                </c:pt>
                <c:pt idx="1328">
                  <c:v>40776</c:v>
                </c:pt>
                <c:pt idx="1329">
                  <c:v>40777</c:v>
                </c:pt>
                <c:pt idx="1330">
                  <c:v>40778</c:v>
                </c:pt>
                <c:pt idx="1331">
                  <c:v>40779</c:v>
                </c:pt>
                <c:pt idx="1332">
                  <c:v>40780</c:v>
                </c:pt>
                <c:pt idx="1333">
                  <c:v>40781</c:v>
                </c:pt>
                <c:pt idx="1334">
                  <c:v>40782</c:v>
                </c:pt>
                <c:pt idx="1335">
                  <c:v>40783</c:v>
                </c:pt>
                <c:pt idx="1336">
                  <c:v>40784</c:v>
                </c:pt>
                <c:pt idx="1337">
                  <c:v>40785</c:v>
                </c:pt>
                <c:pt idx="1338">
                  <c:v>40786</c:v>
                </c:pt>
                <c:pt idx="1339">
                  <c:v>40787</c:v>
                </c:pt>
                <c:pt idx="1340">
                  <c:v>40788</c:v>
                </c:pt>
                <c:pt idx="1341">
                  <c:v>40789</c:v>
                </c:pt>
                <c:pt idx="1342">
                  <c:v>40790</c:v>
                </c:pt>
                <c:pt idx="1343">
                  <c:v>40791</c:v>
                </c:pt>
                <c:pt idx="1344">
                  <c:v>40792</c:v>
                </c:pt>
                <c:pt idx="1345">
                  <c:v>40793</c:v>
                </c:pt>
                <c:pt idx="1346">
                  <c:v>40794</c:v>
                </c:pt>
                <c:pt idx="1347">
                  <c:v>40795</c:v>
                </c:pt>
                <c:pt idx="1348">
                  <c:v>40796</c:v>
                </c:pt>
                <c:pt idx="1349">
                  <c:v>40797</c:v>
                </c:pt>
                <c:pt idx="1350">
                  <c:v>40798</c:v>
                </c:pt>
                <c:pt idx="1351">
                  <c:v>40799</c:v>
                </c:pt>
                <c:pt idx="1352">
                  <c:v>40800</c:v>
                </c:pt>
                <c:pt idx="1353">
                  <c:v>40801</c:v>
                </c:pt>
                <c:pt idx="1354">
                  <c:v>40802</c:v>
                </c:pt>
                <c:pt idx="1355">
                  <c:v>40803</c:v>
                </c:pt>
                <c:pt idx="1356">
                  <c:v>40804</c:v>
                </c:pt>
                <c:pt idx="1357">
                  <c:v>40805</c:v>
                </c:pt>
                <c:pt idx="1358">
                  <c:v>40806</c:v>
                </c:pt>
                <c:pt idx="1359">
                  <c:v>40807</c:v>
                </c:pt>
                <c:pt idx="1360">
                  <c:v>40808</c:v>
                </c:pt>
                <c:pt idx="1361">
                  <c:v>40809</c:v>
                </c:pt>
                <c:pt idx="1362">
                  <c:v>40810</c:v>
                </c:pt>
                <c:pt idx="1363">
                  <c:v>40811</c:v>
                </c:pt>
                <c:pt idx="1364">
                  <c:v>40812</c:v>
                </c:pt>
                <c:pt idx="1365">
                  <c:v>40813</c:v>
                </c:pt>
                <c:pt idx="1366">
                  <c:v>40814</c:v>
                </c:pt>
                <c:pt idx="1367">
                  <c:v>40815</c:v>
                </c:pt>
                <c:pt idx="1368">
                  <c:v>40816</c:v>
                </c:pt>
                <c:pt idx="1369">
                  <c:v>40817</c:v>
                </c:pt>
                <c:pt idx="1370">
                  <c:v>40818</c:v>
                </c:pt>
                <c:pt idx="1371">
                  <c:v>40819</c:v>
                </c:pt>
                <c:pt idx="1372">
                  <c:v>40820</c:v>
                </c:pt>
                <c:pt idx="1373">
                  <c:v>40821</c:v>
                </c:pt>
                <c:pt idx="1374">
                  <c:v>40822</c:v>
                </c:pt>
                <c:pt idx="1375">
                  <c:v>40823</c:v>
                </c:pt>
                <c:pt idx="1376">
                  <c:v>40824</c:v>
                </c:pt>
                <c:pt idx="1377">
                  <c:v>40825</c:v>
                </c:pt>
                <c:pt idx="1378">
                  <c:v>40826</c:v>
                </c:pt>
                <c:pt idx="1379">
                  <c:v>40827</c:v>
                </c:pt>
                <c:pt idx="1380">
                  <c:v>40828</c:v>
                </c:pt>
                <c:pt idx="1381">
                  <c:v>40829</c:v>
                </c:pt>
                <c:pt idx="1382">
                  <c:v>40830</c:v>
                </c:pt>
                <c:pt idx="1383">
                  <c:v>40831</c:v>
                </c:pt>
                <c:pt idx="1384">
                  <c:v>40832</c:v>
                </c:pt>
                <c:pt idx="1385">
                  <c:v>40833</c:v>
                </c:pt>
                <c:pt idx="1386">
                  <c:v>40834</c:v>
                </c:pt>
                <c:pt idx="1387">
                  <c:v>40835</c:v>
                </c:pt>
                <c:pt idx="1388">
                  <c:v>40836</c:v>
                </c:pt>
                <c:pt idx="1389">
                  <c:v>40837</c:v>
                </c:pt>
                <c:pt idx="1390">
                  <c:v>40838</c:v>
                </c:pt>
                <c:pt idx="1391">
                  <c:v>40839</c:v>
                </c:pt>
                <c:pt idx="1392">
                  <c:v>40840</c:v>
                </c:pt>
                <c:pt idx="1393">
                  <c:v>40841</c:v>
                </c:pt>
                <c:pt idx="1394">
                  <c:v>40842</c:v>
                </c:pt>
                <c:pt idx="1395">
                  <c:v>40843</c:v>
                </c:pt>
                <c:pt idx="1396">
                  <c:v>40844</c:v>
                </c:pt>
                <c:pt idx="1397">
                  <c:v>40845</c:v>
                </c:pt>
                <c:pt idx="1398">
                  <c:v>40846</c:v>
                </c:pt>
                <c:pt idx="1399">
                  <c:v>40847</c:v>
                </c:pt>
                <c:pt idx="1400">
                  <c:v>40848</c:v>
                </c:pt>
                <c:pt idx="1401">
                  <c:v>40849</c:v>
                </c:pt>
                <c:pt idx="1402">
                  <c:v>40850</c:v>
                </c:pt>
                <c:pt idx="1403">
                  <c:v>40851</c:v>
                </c:pt>
                <c:pt idx="1404">
                  <c:v>40852</c:v>
                </c:pt>
                <c:pt idx="1405">
                  <c:v>40853</c:v>
                </c:pt>
                <c:pt idx="1406">
                  <c:v>40854</c:v>
                </c:pt>
                <c:pt idx="1407">
                  <c:v>40855</c:v>
                </c:pt>
                <c:pt idx="1408">
                  <c:v>40856</c:v>
                </c:pt>
                <c:pt idx="1409">
                  <c:v>40857</c:v>
                </c:pt>
                <c:pt idx="1410">
                  <c:v>40858</c:v>
                </c:pt>
                <c:pt idx="1411">
                  <c:v>40859</c:v>
                </c:pt>
                <c:pt idx="1412">
                  <c:v>40860</c:v>
                </c:pt>
                <c:pt idx="1413">
                  <c:v>40861</c:v>
                </c:pt>
                <c:pt idx="1414">
                  <c:v>40862</c:v>
                </c:pt>
                <c:pt idx="1415">
                  <c:v>40863</c:v>
                </c:pt>
                <c:pt idx="1416">
                  <c:v>40864</c:v>
                </c:pt>
                <c:pt idx="1417">
                  <c:v>40865</c:v>
                </c:pt>
                <c:pt idx="1418">
                  <c:v>40866</c:v>
                </c:pt>
                <c:pt idx="1419">
                  <c:v>40867</c:v>
                </c:pt>
                <c:pt idx="1420">
                  <c:v>40868</c:v>
                </c:pt>
                <c:pt idx="1421">
                  <c:v>40869</c:v>
                </c:pt>
                <c:pt idx="1422">
                  <c:v>40870</c:v>
                </c:pt>
                <c:pt idx="1423">
                  <c:v>40871</c:v>
                </c:pt>
                <c:pt idx="1424">
                  <c:v>40872</c:v>
                </c:pt>
                <c:pt idx="1425">
                  <c:v>40873</c:v>
                </c:pt>
                <c:pt idx="1426">
                  <c:v>40874</c:v>
                </c:pt>
                <c:pt idx="1427">
                  <c:v>40875</c:v>
                </c:pt>
                <c:pt idx="1428">
                  <c:v>40876</c:v>
                </c:pt>
                <c:pt idx="1429">
                  <c:v>40877</c:v>
                </c:pt>
                <c:pt idx="1430">
                  <c:v>40878</c:v>
                </c:pt>
                <c:pt idx="1431">
                  <c:v>40879</c:v>
                </c:pt>
                <c:pt idx="1432">
                  <c:v>40880</c:v>
                </c:pt>
                <c:pt idx="1433">
                  <c:v>40881</c:v>
                </c:pt>
                <c:pt idx="1434">
                  <c:v>40882</c:v>
                </c:pt>
                <c:pt idx="1435">
                  <c:v>40883</c:v>
                </c:pt>
                <c:pt idx="1436">
                  <c:v>40884</c:v>
                </c:pt>
                <c:pt idx="1437">
                  <c:v>40885</c:v>
                </c:pt>
                <c:pt idx="1438">
                  <c:v>40886</c:v>
                </c:pt>
                <c:pt idx="1439">
                  <c:v>40887</c:v>
                </c:pt>
                <c:pt idx="1440">
                  <c:v>40888</c:v>
                </c:pt>
                <c:pt idx="1441">
                  <c:v>40889</c:v>
                </c:pt>
                <c:pt idx="1442">
                  <c:v>40890</c:v>
                </c:pt>
                <c:pt idx="1443">
                  <c:v>40891</c:v>
                </c:pt>
                <c:pt idx="1444">
                  <c:v>40892</c:v>
                </c:pt>
                <c:pt idx="1445">
                  <c:v>40893</c:v>
                </c:pt>
                <c:pt idx="1446">
                  <c:v>40894</c:v>
                </c:pt>
                <c:pt idx="1447">
                  <c:v>40895</c:v>
                </c:pt>
                <c:pt idx="1448">
                  <c:v>40896</c:v>
                </c:pt>
                <c:pt idx="1449">
                  <c:v>40897</c:v>
                </c:pt>
                <c:pt idx="1450">
                  <c:v>40898</c:v>
                </c:pt>
                <c:pt idx="1451">
                  <c:v>40899</c:v>
                </c:pt>
                <c:pt idx="1452">
                  <c:v>40900</c:v>
                </c:pt>
                <c:pt idx="1453">
                  <c:v>40901</c:v>
                </c:pt>
                <c:pt idx="1454">
                  <c:v>40902</c:v>
                </c:pt>
                <c:pt idx="1455">
                  <c:v>40903</c:v>
                </c:pt>
                <c:pt idx="1456">
                  <c:v>40904</c:v>
                </c:pt>
                <c:pt idx="1457">
                  <c:v>40905</c:v>
                </c:pt>
                <c:pt idx="1458">
                  <c:v>40906</c:v>
                </c:pt>
                <c:pt idx="1459">
                  <c:v>40907</c:v>
                </c:pt>
                <c:pt idx="1460">
                  <c:v>40908</c:v>
                </c:pt>
                <c:pt idx="1461">
                  <c:v>40909</c:v>
                </c:pt>
                <c:pt idx="1462">
                  <c:v>40910</c:v>
                </c:pt>
                <c:pt idx="1463">
                  <c:v>40911</c:v>
                </c:pt>
                <c:pt idx="1464">
                  <c:v>40912</c:v>
                </c:pt>
                <c:pt idx="1465">
                  <c:v>40913</c:v>
                </c:pt>
                <c:pt idx="1466">
                  <c:v>40914</c:v>
                </c:pt>
                <c:pt idx="1467">
                  <c:v>40915</c:v>
                </c:pt>
                <c:pt idx="1468">
                  <c:v>40916</c:v>
                </c:pt>
                <c:pt idx="1469">
                  <c:v>40917</c:v>
                </c:pt>
                <c:pt idx="1470">
                  <c:v>40918</c:v>
                </c:pt>
                <c:pt idx="1471">
                  <c:v>40919</c:v>
                </c:pt>
                <c:pt idx="1472">
                  <c:v>40920</c:v>
                </c:pt>
                <c:pt idx="1473">
                  <c:v>40921</c:v>
                </c:pt>
                <c:pt idx="1474">
                  <c:v>40922</c:v>
                </c:pt>
                <c:pt idx="1475">
                  <c:v>40923</c:v>
                </c:pt>
                <c:pt idx="1476">
                  <c:v>40924</c:v>
                </c:pt>
                <c:pt idx="1477">
                  <c:v>40925</c:v>
                </c:pt>
                <c:pt idx="1478">
                  <c:v>40926</c:v>
                </c:pt>
                <c:pt idx="1479">
                  <c:v>40927</c:v>
                </c:pt>
                <c:pt idx="1480">
                  <c:v>40928</c:v>
                </c:pt>
                <c:pt idx="1481">
                  <c:v>40929</c:v>
                </c:pt>
                <c:pt idx="1482">
                  <c:v>40930</c:v>
                </c:pt>
                <c:pt idx="1483">
                  <c:v>40931</c:v>
                </c:pt>
                <c:pt idx="1484">
                  <c:v>40932</c:v>
                </c:pt>
                <c:pt idx="1485">
                  <c:v>40933</c:v>
                </c:pt>
                <c:pt idx="1486">
                  <c:v>40934</c:v>
                </c:pt>
                <c:pt idx="1487">
                  <c:v>40935</c:v>
                </c:pt>
                <c:pt idx="1488">
                  <c:v>40936</c:v>
                </c:pt>
                <c:pt idx="1489">
                  <c:v>40937</c:v>
                </c:pt>
                <c:pt idx="1490">
                  <c:v>40938</c:v>
                </c:pt>
                <c:pt idx="1491">
                  <c:v>40939</c:v>
                </c:pt>
                <c:pt idx="1492">
                  <c:v>40940</c:v>
                </c:pt>
                <c:pt idx="1493">
                  <c:v>40941</c:v>
                </c:pt>
                <c:pt idx="1494">
                  <c:v>40942</c:v>
                </c:pt>
                <c:pt idx="1495">
                  <c:v>40943</c:v>
                </c:pt>
                <c:pt idx="1496">
                  <c:v>40944</c:v>
                </c:pt>
                <c:pt idx="1497">
                  <c:v>40945</c:v>
                </c:pt>
                <c:pt idx="1498">
                  <c:v>40946</c:v>
                </c:pt>
                <c:pt idx="1499">
                  <c:v>40947</c:v>
                </c:pt>
                <c:pt idx="1500">
                  <c:v>40948</c:v>
                </c:pt>
                <c:pt idx="1501">
                  <c:v>40949</c:v>
                </c:pt>
                <c:pt idx="1502">
                  <c:v>40950</c:v>
                </c:pt>
                <c:pt idx="1503">
                  <c:v>40951</c:v>
                </c:pt>
                <c:pt idx="1504">
                  <c:v>40952</c:v>
                </c:pt>
                <c:pt idx="1505">
                  <c:v>40953</c:v>
                </c:pt>
                <c:pt idx="1506">
                  <c:v>40954</c:v>
                </c:pt>
                <c:pt idx="1507">
                  <c:v>40955</c:v>
                </c:pt>
                <c:pt idx="1508">
                  <c:v>40956</c:v>
                </c:pt>
                <c:pt idx="1509">
                  <c:v>40957</c:v>
                </c:pt>
                <c:pt idx="1510">
                  <c:v>40958</c:v>
                </c:pt>
                <c:pt idx="1511">
                  <c:v>40959</c:v>
                </c:pt>
                <c:pt idx="1512">
                  <c:v>40960</c:v>
                </c:pt>
                <c:pt idx="1513">
                  <c:v>40961</c:v>
                </c:pt>
                <c:pt idx="1514">
                  <c:v>40962</c:v>
                </c:pt>
                <c:pt idx="1515">
                  <c:v>40963</c:v>
                </c:pt>
                <c:pt idx="1516">
                  <c:v>40964</c:v>
                </c:pt>
                <c:pt idx="1517">
                  <c:v>40965</c:v>
                </c:pt>
                <c:pt idx="1518">
                  <c:v>40966</c:v>
                </c:pt>
                <c:pt idx="1519">
                  <c:v>40967</c:v>
                </c:pt>
                <c:pt idx="1520">
                  <c:v>40968</c:v>
                </c:pt>
                <c:pt idx="1521">
                  <c:v>40969</c:v>
                </c:pt>
                <c:pt idx="1522">
                  <c:v>40970</c:v>
                </c:pt>
                <c:pt idx="1523">
                  <c:v>40971</c:v>
                </c:pt>
                <c:pt idx="1524">
                  <c:v>40972</c:v>
                </c:pt>
                <c:pt idx="1525">
                  <c:v>40973</c:v>
                </c:pt>
                <c:pt idx="1526">
                  <c:v>40974</c:v>
                </c:pt>
                <c:pt idx="1527">
                  <c:v>40975</c:v>
                </c:pt>
                <c:pt idx="1528">
                  <c:v>40976</c:v>
                </c:pt>
                <c:pt idx="1529">
                  <c:v>40977</c:v>
                </c:pt>
                <c:pt idx="1530">
                  <c:v>40978</c:v>
                </c:pt>
                <c:pt idx="1531">
                  <c:v>40979</c:v>
                </c:pt>
                <c:pt idx="1532">
                  <c:v>40980</c:v>
                </c:pt>
                <c:pt idx="1533">
                  <c:v>40981</c:v>
                </c:pt>
                <c:pt idx="1534">
                  <c:v>40982</c:v>
                </c:pt>
                <c:pt idx="1535">
                  <c:v>40983</c:v>
                </c:pt>
                <c:pt idx="1536">
                  <c:v>40984</c:v>
                </c:pt>
                <c:pt idx="1537">
                  <c:v>40985</c:v>
                </c:pt>
                <c:pt idx="1538">
                  <c:v>40986</c:v>
                </c:pt>
                <c:pt idx="1539">
                  <c:v>40987</c:v>
                </c:pt>
                <c:pt idx="1540">
                  <c:v>40988</c:v>
                </c:pt>
                <c:pt idx="1541">
                  <c:v>40989</c:v>
                </c:pt>
                <c:pt idx="1542">
                  <c:v>40990</c:v>
                </c:pt>
                <c:pt idx="1543">
                  <c:v>40991</c:v>
                </c:pt>
                <c:pt idx="1544">
                  <c:v>40992</c:v>
                </c:pt>
                <c:pt idx="1545">
                  <c:v>40993</c:v>
                </c:pt>
                <c:pt idx="1546">
                  <c:v>40994</c:v>
                </c:pt>
                <c:pt idx="1547">
                  <c:v>40995</c:v>
                </c:pt>
                <c:pt idx="1548">
                  <c:v>40996</c:v>
                </c:pt>
                <c:pt idx="1549">
                  <c:v>40997</c:v>
                </c:pt>
                <c:pt idx="1550">
                  <c:v>40998</c:v>
                </c:pt>
                <c:pt idx="1551">
                  <c:v>40999</c:v>
                </c:pt>
                <c:pt idx="1552">
                  <c:v>41000</c:v>
                </c:pt>
                <c:pt idx="1553">
                  <c:v>41001</c:v>
                </c:pt>
                <c:pt idx="1554">
                  <c:v>41002</c:v>
                </c:pt>
                <c:pt idx="1555">
                  <c:v>41003</c:v>
                </c:pt>
                <c:pt idx="1556">
                  <c:v>41004</c:v>
                </c:pt>
                <c:pt idx="1557">
                  <c:v>41005</c:v>
                </c:pt>
                <c:pt idx="1558">
                  <c:v>41006</c:v>
                </c:pt>
                <c:pt idx="1559">
                  <c:v>41007</c:v>
                </c:pt>
                <c:pt idx="1560">
                  <c:v>41008</c:v>
                </c:pt>
                <c:pt idx="1561">
                  <c:v>41009</c:v>
                </c:pt>
                <c:pt idx="1562">
                  <c:v>41010</c:v>
                </c:pt>
                <c:pt idx="1563">
                  <c:v>41011</c:v>
                </c:pt>
                <c:pt idx="1564">
                  <c:v>41012</c:v>
                </c:pt>
                <c:pt idx="1565">
                  <c:v>41013</c:v>
                </c:pt>
                <c:pt idx="1566">
                  <c:v>41014</c:v>
                </c:pt>
                <c:pt idx="1567">
                  <c:v>41015</c:v>
                </c:pt>
                <c:pt idx="1568">
                  <c:v>41016</c:v>
                </c:pt>
                <c:pt idx="1569">
                  <c:v>41017</c:v>
                </c:pt>
                <c:pt idx="1570">
                  <c:v>41018</c:v>
                </c:pt>
                <c:pt idx="1571">
                  <c:v>41019</c:v>
                </c:pt>
                <c:pt idx="1572">
                  <c:v>41020</c:v>
                </c:pt>
                <c:pt idx="1573">
                  <c:v>41021</c:v>
                </c:pt>
                <c:pt idx="1574">
                  <c:v>41022</c:v>
                </c:pt>
                <c:pt idx="1575">
                  <c:v>41023</c:v>
                </c:pt>
                <c:pt idx="1576">
                  <c:v>41024</c:v>
                </c:pt>
                <c:pt idx="1577">
                  <c:v>41025</c:v>
                </c:pt>
                <c:pt idx="1578">
                  <c:v>41026</c:v>
                </c:pt>
                <c:pt idx="1579">
                  <c:v>41027</c:v>
                </c:pt>
                <c:pt idx="1580">
                  <c:v>41028</c:v>
                </c:pt>
                <c:pt idx="1581">
                  <c:v>41029</c:v>
                </c:pt>
                <c:pt idx="1582">
                  <c:v>41030</c:v>
                </c:pt>
                <c:pt idx="1583">
                  <c:v>41031</c:v>
                </c:pt>
                <c:pt idx="1584">
                  <c:v>41032</c:v>
                </c:pt>
                <c:pt idx="1585">
                  <c:v>41033</c:v>
                </c:pt>
                <c:pt idx="1586">
                  <c:v>41034</c:v>
                </c:pt>
                <c:pt idx="1587">
                  <c:v>41035</c:v>
                </c:pt>
                <c:pt idx="1588">
                  <c:v>41036</c:v>
                </c:pt>
                <c:pt idx="1589">
                  <c:v>41037</c:v>
                </c:pt>
                <c:pt idx="1590">
                  <c:v>41038</c:v>
                </c:pt>
                <c:pt idx="1591">
                  <c:v>41039</c:v>
                </c:pt>
                <c:pt idx="1592">
                  <c:v>41040</c:v>
                </c:pt>
                <c:pt idx="1593">
                  <c:v>41041</c:v>
                </c:pt>
                <c:pt idx="1594">
                  <c:v>41042</c:v>
                </c:pt>
                <c:pt idx="1595">
                  <c:v>41043</c:v>
                </c:pt>
                <c:pt idx="1596">
                  <c:v>41044</c:v>
                </c:pt>
                <c:pt idx="1597">
                  <c:v>41045</c:v>
                </c:pt>
                <c:pt idx="1598">
                  <c:v>41046</c:v>
                </c:pt>
                <c:pt idx="1599">
                  <c:v>41047</c:v>
                </c:pt>
                <c:pt idx="1600">
                  <c:v>41048</c:v>
                </c:pt>
                <c:pt idx="1601">
                  <c:v>41049</c:v>
                </c:pt>
                <c:pt idx="1602">
                  <c:v>41050</c:v>
                </c:pt>
                <c:pt idx="1603">
                  <c:v>41051</c:v>
                </c:pt>
                <c:pt idx="1604">
                  <c:v>41052</c:v>
                </c:pt>
                <c:pt idx="1605">
                  <c:v>41053</c:v>
                </c:pt>
                <c:pt idx="1606">
                  <c:v>41054</c:v>
                </c:pt>
                <c:pt idx="1607">
                  <c:v>41055</c:v>
                </c:pt>
                <c:pt idx="1608">
                  <c:v>41056</c:v>
                </c:pt>
                <c:pt idx="1609">
                  <c:v>41057</c:v>
                </c:pt>
                <c:pt idx="1610">
                  <c:v>41058</c:v>
                </c:pt>
                <c:pt idx="1611">
                  <c:v>41059</c:v>
                </c:pt>
                <c:pt idx="1612">
                  <c:v>41060</c:v>
                </c:pt>
                <c:pt idx="1613">
                  <c:v>41061</c:v>
                </c:pt>
                <c:pt idx="1614">
                  <c:v>41062</c:v>
                </c:pt>
                <c:pt idx="1615">
                  <c:v>41063</c:v>
                </c:pt>
                <c:pt idx="1616">
                  <c:v>41064</c:v>
                </c:pt>
                <c:pt idx="1617">
                  <c:v>41065</c:v>
                </c:pt>
                <c:pt idx="1618">
                  <c:v>41066</c:v>
                </c:pt>
                <c:pt idx="1619">
                  <c:v>41067</c:v>
                </c:pt>
                <c:pt idx="1620">
                  <c:v>41068</c:v>
                </c:pt>
                <c:pt idx="1621">
                  <c:v>41069</c:v>
                </c:pt>
                <c:pt idx="1622">
                  <c:v>41070</c:v>
                </c:pt>
                <c:pt idx="1623">
                  <c:v>41071</c:v>
                </c:pt>
                <c:pt idx="1624">
                  <c:v>41072</c:v>
                </c:pt>
                <c:pt idx="1625">
                  <c:v>41073</c:v>
                </c:pt>
                <c:pt idx="1626">
                  <c:v>41074</c:v>
                </c:pt>
                <c:pt idx="1627">
                  <c:v>41075</c:v>
                </c:pt>
                <c:pt idx="1628">
                  <c:v>41076</c:v>
                </c:pt>
                <c:pt idx="1629">
                  <c:v>41077</c:v>
                </c:pt>
                <c:pt idx="1630">
                  <c:v>41078</c:v>
                </c:pt>
                <c:pt idx="1631">
                  <c:v>41079</c:v>
                </c:pt>
                <c:pt idx="1632">
                  <c:v>41080</c:v>
                </c:pt>
                <c:pt idx="1633">
                  <c:v>41081</c:v>
                </c:pt>
                <c:pt idx="1634">
                  <c:v>41082</c:v>
                </c:pt>
                <c:pt idx="1635">
                  <c:v>41083</c:v>
                </c:pt>
                <c:pt idx="1636">
                  <c:v>41084</c:v>
                </c:pt>
                <c:pt idx="1637">
                  <c:v>41085</c:v>
                </c:pt>
                <c:pt idx="1638">
                  <c:v>41086</c:v>
                </c:pt>
                <c:pt idx="1639">
                  <c:v>41087</c:v>
                </c:pt>
                <c:pt idx="1640">
                  <c:v>41088</c:v>
                </c:pt>
                <c:pt idx="1641">
                  <c:v>41089</c:v>
                </c:pt>
                <c:pt idx="1642">
                  <c:v>41090</c:v>
                </c:pt>
                <c:pt idx="1643">
                  <c:v>41091</c:v>
                </c:pt>
                <c:pt idx="1644">
                  <c:v>41092</c:v>
                </c:pt>
                <c:pt idx="1645">
                  <c:v>41093</c:v>
                </c:pt>
                <c:pt idx="1646">
                  <c:v>41094</c:v>
                </c:pt>
                <c:pt idx="1647">
                  <c:v>41095</c:v>
                </c:pt>
                <c:pt idx="1648">
                  <c:v>41096</c:v>
                </c:pt>
                <c:pt idx="1649">
                  <c:v>41097</c:v>
                </c:pt>
                <c:pt idx="1650">
                  <c:v>41098</c:v>
                </c:pt>
                <c:pt idx="1651">
                  <c:v>41099</c:v>
                </c:pt>
                <c:pt idx="1652">
                  <c:v>41100</c:v>
                </c:pt>
                <c:pt idx="1653">
                  <c:v>41101</c:v>
                </c:pt>
                <c:pt idx="1654">
                  <c:v>41102</c:v>
                </c:pt>
                <c:pt idx="1655">
                  <c:v>41103</c:v>
                </c:pt>
                <c:pt idx="1656">
                  <c:v>41104</c:v>
                </c:pt>
                <c:pt idx="1657">
                  <c:v>41105</c:v>
                </c:pt>
                <c:pt idx="1658">
                  <c:v>41106</c:v>
                </c:pt>
                <c:pt idx="1659">
                  <c:v>41107</c:v>
                </c:pt>
                <c:pt idx="1660">
                  <c:v>41108</c:v>
                </c:pt>
                <c:pt idx="1661">
                  <c:v>41109</c:v>
                </c:pt>
                <c:pt idx="1662">
                  <c:v>41110</c:v>
                </c:pt>
                <c:pt idx="1663">
                  <c:v>41111</c:v>
                </c:pt>
                <c:pt idx="1664">
                  <c:v>41112</c:v>
                </c:pt>
                <c:pt idx="1665">
                  <c:v>41113</c:v>
                </c:pt>
                <c:pt idx="1666">
                  <c:v>41114</c:v>
                </c:pt>
                <c:pt idx="1667">
                  <c:v>41115</c:v>
                </c:pt>
                <c:pt idx="1668">
                  <c:v>41116</c:v>
                </c:pt>
                <c:pt idx="1669">
                  <c:v>41117</c:v>
                </c:pt>
                <c:pt idx="1670">
                  <c:v>41118</c:v>
                </c:pt>
                <c:pt idx="1671">
                  <c:v>41119</c:v>
                </c:pt>
                <c:pt idx="1672">
                  <c:v>41120</c:v>
                </c:pt>
                <c:pt idx="1673">
                  <c:v>41121</c:v>
                </c:pt>
                <c:pt idx="1674">
                  <c:v>41122</c:v>
                </c:pt>
                <c:pt idx="1675">
                  <c:v>41123</c:v>
                </c:pt>
                <c:pt idx="1676">
                  <c:v>41124</c:v>
                </c:pt>
                <c:pt idx="1677">
                  <c:v>41125</c:v>
                </c:pt>
                <c:pt idx="1678">
                  <c:v>41126</c:v>
                </c:pt>
                <c:pt idx="1679">
                  <c:v>41127</c:v>
                </c:pt>
                <c:pt idx="1680">
                  <c:v>41128</c:v>
                </c:pt>
                <c:pt idx="1681">
                  <c:v>41129</c:v>
                </c:pt>
                <c:pt idx="1682">
                  <c:v>41130</c:v>
                </c:pt>
                <c:pt idx="1683">
                  <c:v>41131</c:v>
                </c:pt>
                <c:pt idx="1684">
                  <c:v>41132</c:v>
                </c:pt>
                <c:pt idx="1685">
                  <c:v>41133</c:v>
                </c:pt>
                <c:pt idx="1686">
                  <c:v>41134</c:v>
                </c:pt>
                <c:pt idx="1687">
                  <c:v>41135</c:v>
                </c:pt>
                <c:pt idx="1688">
                  <c:v>41136</c:v>
                </c:pt>
                <c:pt idx="1689">
                  <c:v>41137</c:v>
                </c:pt>
                <c:pt idx="1690">
                  <c:v>41138</c:v>
                </c:pt>
                <c:pt idx="1691">
                  <c:v>41139</c:v>
                </c:pt>
                <c:pt idx="1692">
                  <c:v>41140</c:v>
                </c:pt>
                <c:pt idx="1693">
                  <c:v>41141</c:v>
                </c:pt>
                <c:pt idx="1694">
                  <c:v>41142</c:v>
                </c:pt>
                <c:pt idx="1695">
                  <c:v>41143</c:v>
                </c:pt>
                <c:pt idx="1696">
                  <c:v>41144</c:v>
                </c:pt>
                <c:pt idx="1697">
                  <c:v>41145</c:v>
                </c:pt>
                <c:pt idx="1698">
                  <c:v>41146</c:v>
                </c:pt>
                <c:pt idx="1699">
                  <c:v>41147</c:v>
                </c:pt>
                <c:pt idx="1700">
                  <c:v>41148</c:v>
                </c:pt>
                <c:pt idx="1701">
                  <c:v>41149</c:v>
                </c:pt>
                <c:pt idx="1702">
                  <c:v>41150</c:v>
                </c:pt>
                <c:pt idx="1703">
                  <c:v>41151</c:v>
                </c:pt>
                <c:pt idx="1704">
                  <c:v>41152</c:v>
                </c:pt>
                <c:pt idx="1705">
                  <c:v>41153</c:v>
                </c:pt>
                <c:pt idx="1706">
                  <c:v>41154</c:v>
                </c:pt>
                <c:pt idx="1707">
                  <c:v>41155</c:v>
                </c:pt>
                <c:pt idx="1708">
                  <c:v>41156</c:v>
                </c:pt>
                <c:pt idx="1709">
                  <c:v>41157</c:v>
                </c:pt>
                <c:pt idx="1710">
                  <c:v>41158</c:v>
                </c:pt>
                <c:pt idx="1711">
                  <c:v>41159</c:v>
                </c:pt>
                <c:pt idx="1712">
                  <c:v>41160</c:v>
                </c:pt>
                <c:pt idx="1713">
                  <c:v>41161</c:v>
                </c:pt>
                <c:pt idx="1714">
                  <c:v>41162</c:v>
                </c:pt>
                <c:pt idx="1715">
                  <c:v>41163</c:v>
                </c:pt>
                <c:pt idx="1716">
                  <c:v>41164</c:v>
                </c:pt>
                <c:pt idx="1717">
                  <c:v>41165</c:v>
                </c:pt>
                <c:pt idx="1718">
                  <c:v>41166</c:v>
                </c:pt>
                <c:pt idx="1719">
                  <c:v>41167</c:v>
                </c:pt>
                <c:pt idx="1720">
                  <c:v>41168</c:v>
                </c:pt>
                <c:pt idx="1721">
                  <c:v>41169</c:v>
                </c:pt>
                <c:pt idx="1722">
                  <c:v>41170</c:v>
                </c:pt>
                <c:pt idx="1723">
                  <c:v>41171</c:v>
                </c:pt>
                <c:pt idx="1724">
                  <c:v>41172</c:v>
                </c:pt>
                <c:pt idx="1725">
                  <c:v>41173</c:v>
                </c:pt>
                <c:pt idx="1726">
                  <c:v>41174</c:v>
                </c:pt>
                <c:pt idx="1727">
                  <c:v>41175</c:v>
                </c:pt>
                <c:pt idx="1728">
                  <c:v>41176</c:v>
                </c:pt>
                <c:pt idx="1729">
                  <c:v>41177</c:v>
                </c:pt>
                <c:pt idx="1730">
                  <c:v>41178</c:v>
                </c:pt>
                <c:pt idx="1731">
                  <c:v>41179</c:v>
                </c:pt>
                <c:pt idx="1732">
                  <c:v>41180</c:v>
                </c:pt>
                <c:pt idx="1733">
                  <c:v>41181</c:v>
                </c:pt>
                <c:pt idx="1734">
                  <c:v>41182</c:v>
                </c:pt>
                <c:pt idx="1735">
                  <c:v>41183</c:v>
                </c:pt>
                <c:pt idx="1736">
                  <c:v>41184</c:v>
                </c:pt>
                <c:pt idx="1737">
                  <c:v>41185</c:v>
                </c:pt>
                <c:pt idx="1738">
                  <c:v>41186</c:v>
                </c:pt>
                <c:pt idx="1739">
                  <c:v>41187</c:v>
                </c:pt>
                <c:pt idx="1740">
                  <c:v>41188</c:v>
                </c:pt>
                <c:pt idx="1741">
                  <c:v>41189</c:v>
                </c:pt>
                <c:pt idx="1742">
                  <c:v>41190</c:v>
                </c:pt>
                <c:pt idx="1743">
                  <c:v>41191</c:v>
                </c:pt>
                <c:pt idx="1744">
                  <c:v>41192</c:v>
                </c:pt>
                <c:pt idx="1745">
                  <c:v>41193</c:v>
                </c:pt>
                <c:pt idx="1746">
                  <c:v>41194</c:v>
                </c:pt>
                <c:pt idx="1747">
                  <c:v>41195</c:v>
                </c:pt>
                <c:pt idx="1748">
                  <c:v>41196</c:v>
                </c:pt>
                <c:pt idx="1749">
                  <c:v>41197</c:v>
                </c:pt>
                <c:pt idx="1750">
                  <c:v>41198</c:v>
                </c:pt>
                <c:pt idx="1751">
                  <c:v>41199</c:v>
                </c:pt>
                <c:pt idx="1752">
                  <c:v>41200</c:v>
                </c:pt>
                <c:pt idx="1753">
                  <c:v>41201</c:v>
                </c:pt>
                <c:pt idx="1754">
                  <c:v>41202</c:v>
                </c:pt>
                <c:pt idx="1755">
                  <c:v>41203</c:v>
                </c:pt>
                <c:pt idx="1756">
                  <c:v>41204</c:v>
                </c:pt>
                <c:pt idx="1757">
                  <c:v>41205</c:v>
                </c:pt>
                <c:pt idx="1758">
                  <c:v>41206</c:v>
                </c:pt>
                <c:pt idx="1759">
                  <c:v>41207</c:v>
                </c:pt>
                <c:pt idx="1760">
                  <c:v>41208</c:v>
                </c:pt>
                <c:pt idx="1761">
                  <c:v>41209</c:v>
                </c:pt>
                <c:pt idx="1762">
                  <c:v>41210</c:v>
                </c:pt>
                <c:pt idx="1763">
                  <c:v>41211</c:v>
                </c:pt>
                <c:pt idx="1764">
                  <c:v>41212</c:v>
                </c:pt>
                <c:pt idx="1765">
                  <c:v>41213</c:v>
                </c:pt>
                <c:pt idx="1766">
                  <c:v>41214</c:v>
                </c:pt>
                <c:pt idx="1767">
                  <c:v>41215</c:v>
                </c:pt>
                <c:pt idx="1768">
                  <c:v>41216</c:v>
                </c:pt>
                <c:pt idx="1769">
                  <c:v>41217</c:v>
                </c:pt>
                <c:pt idx="1770">
                  <c:v>41218</c:v>
                </c:pt>
                <c:pt idx="1771">
                  <c:v>41219</c:v>
                </c:pt>
                <c:pt idx="1772">
                  <c:v>41220</c:v>
                </c:pt>
                <c:pt idx="1773">
                  <c:v>41221</c:v>
                </c:pt>
                <c:pt idx="1774">
                  <c:v>41222</c:v>
                </c:pt>
                <c:pt idx="1775">
                  <c:v>41223</c:v>
                </c:pt>
                <c:pt idx="1776">
                  <c:v>41224</c:v>
                </c:pt>
                <c:pt idx="1777">
                  <c:v>41225</c:v>
                </c:pt>
                <c:pt idx="1778">
                  <c:v>41226</c:v>
                </c:pt>
                <c:pt idx="1779">
                  <c:v>41227</c:v>
                </c:pt>
                <c:pt idx="1780">
                  <c:v>41228</c:v>
                </c:pt>
                <c:pt idx="1781">
                  <c:v>41229</c:v>
                </c:pt>
                <c:pt idx="1782">
                  <c:v>41230</c:v>
                </c:pt>
                <c:pt idx="1783">
                  <c:v>41231</c:v>
                </c:pt>
                <c:pt idx="1784">
                  <c:v>41232</c:v>
                </c:pt>
                <c:pt idx="1785">
                  <c:v>41233</c:v>
                </c:pt>
                <c:pt idx="1786">
                  <c:v>41234</c:v>
                </c:pt>
                <c:pt idx="1787">
                  <c:v>41235</c:v>
                </c:pt>
                <c:pt idx="1788">
                  <c:v>41236</c:v>
                </c:pt>
                <c:pt idx="1789">
                  <c:v>41237</c:v>
                </c:pt>
                <c:pt idx="1790">
                  <c:v>41238</c:v>
                </c:pt>
                <c:pt idx="1791">
                  <c:v>41239</c:v>
                </c:pt>
                <c:pt idx="1792">
                  <c:v>41240</c:v>
                </c:pt>
                <c:pt idx="1793">
                  <c:v>41241</c:v>
                </c:pt>
                <c:pt idx="1794">
                  <c:v>41242</c:v>
                </c:pt>
                <c:pt idx="1795">
                  <c:v>41243</c:v>
                </c:pt>
                <c:pt idx="1796">
                  <c:v>41244</c:v>
                </c:pt>
                <c:pt idx="1797">
                  <c:v>41245</c:v>
                </c:pt>
                <c:pt idx="1798">
                  <c:v>41246</c:v>
                </c:pt>
                <c:pt idx="1799">
                  <c:v>41247</c:v>
                </c:pt>
                <c:pt idx="1800">
                  <c:v>41248</c:v>
                </c:pt>
                <c:pt idx="1801">
                  <c:v>41249</c:v>
                </c:pt>
                <c:pt idx="1802">
                  <c:v>41250</c:v>
                </c:pt>
                <c:pt idx="1803">
                  <c:v>41251</c:v>
                </c:pt>
                <c:pt idx="1804">
                  <c:v>41252</c:v>
                </c:pt>
                <c:pt idx="1805">
                  <c:v>41253</c:v>
                </c:pt>
                <c:pt idx="1806">
                  <c:v>41254</c:v>
                </c:pt>
                <c:pt idx="1807">
                  <c:v>41255</c:v>
                </c:pt>
                <c:pt idx="1808">
                  <c:v>41256</c:v>
                </c:pt>
                <c:pt idx="1809">
                  <c:v>41257</c:v>
                </c:pt>
                <c:pt idx="1810">
                  <c:v>41258</c:v>
                </c:pt>
                <c:pt idx="1811">
                  <c:v>41259</c:v>
                </c:pt>
                <c:pt idx="1812">
                  <c:v>41260</c:v>
                </c:pt>
                <c:pt idx="1813">
                  <c:v>41261</c:v>
                </c:pt>
                <c:pt idx="1814">
                  <c:v>41262</c:v>
                </c:pt>
                <c:pt idx="1815">
                  <c:v>41263</c:v>
                </c:pt>
                <c:pt idx="1816">
                  <c:v>41264</c:v>
                </c:pt>
                <c:pt idx="1817">
                  <c:v>41265</c:v>
                </c:pt>
                <c:pt idx="1818">
                  <c:v>41266</c:v>
                </c:pt>
                <c:pt idx="1819">
                  <c:v>41267</c:v>
                </c:pt>
                <c:pt idx="1820">
                  <c:v>41268</c:v>
                </c:pt>
                <c:pt idx="1821">
                  <c:v>41269</c:v>
                </c:pt>
                <c:pt idx="1822">
                  <c:v>41270</c:v>
                </c:pt>
                <c:pt idx="1823">
                  <c:v>41271</c:v>
                </c:pt>
                <c:pt idx="1824">
                  <c:v>41272</c:v>
                </c:pt>
                <c:pt idx="1825">
                  <c:v>41273</c:v>
                </c:pt>
                <c:pt idx="1826">
                  <c:v>41274</c:v>
                </c:pt>
                <c:pt idx="1827">
                  <c:v>41275</c:v>
                </c:pt>
                <c:pt idx="1828">
                  <c:v>41276</c:v>
                </c:pt>
                <c:pt idx="1829">
                  <c:v>41277</c:v>
                </c:pt>
                <c:pt idx="1830">
                  <c:v>41278</c:v>
                </c:pt>
                <c:pt idx="1831">
                  <c:v>41279</c:v>
                </c:pt>
                <c:pt idx="1832">
                  <c:v>41280</c:v>
                </c:pt>
                <c:pt idx="1833">
                  <c:v>41281</c:v>
                </c:pt>
                <c:pt idx="1834">
                  <c:v>41282</c:v>
                </c:pt>
                <c:pt idx="1835">
                  <c:v>41283</c:v>
                </c:pt>
                <c:pt idx="1836">
                  <c:v>41284</c:v>
                </c:pt>
                <c:pt idx="1837">
                  <c:v>41285</c:v>
                </c:pt>
                <c:pt idx="1838">
                  <c:v>41286</c:v>
                </c:pt>
                <c:pt idx="1839">
                  <c:v>41287</c:v>
                </c:pt>
                <c:pt idx="1840">
                  <c:v>41288</c:v>
                </c:pt>
                <c:pt idx="1841">
                  <c:v>41289</c:v>
                </c:pt>
                <c:pt idx="1842">
                  <c:v>41290</c:v>
                </c:pt>
                <c:pt idx="1843">
                  <c:v>41291</c:v>
                </c:pt>
                <c:pt idx="1844">
                  <c:v>41292</c:v>
                </c:pt>
                <c:pt idx="1845">
                  <c:v>41293</c:v>
                </c:pt>
                <c:pt idx="1846">
                  <c:v>41294</c:v>
                </c:pt>
                <c:pt idx="1847">
                  <c:v>41295</c:v>
                </c:pt>
                <c:pt idx="1848">
                  <c:v>41296</c:v>
                </c:pt>
                <c:pt idx="1849">
                  <c:v>41297</c:v>
                </c:pt>
                <c:pt idx="1850">
                  <c:v>41298</c:v>
                </c:pt>
                <c:pt idx="1851">
                  <c:v>41299</c:v>
                </c:pt>
                <c:pt idx="1852">
                  <c:v>41300</c:v>
                </c:pt>
                <c:pt idx="1853">
                  <c:v>41301</c:v>
                </c:pt>
                <c:pt idx="1854">
                  <c:v>41302</c:v>
                </c:pt>
                <c:pt idx="1855">
                  <c:v>41303</c:v>
                </c:pt>
                <c:pt idx="1856">
                  <c:v>41304</c:v>
                </c:pt>
                <c:pt idx="1857">
                  <c:v>41305</c:v>
                </c:pt>
                <c:pt idx="1858">
                  <c:v>41306</c:v>
                </c:pt>
                <c:pt idx="1859">
                  <c:v>41307</c:v>
                </c:pt>
                <c:pt idx="1860">
                  <c:v>41308</c:v>
                </c:pt>
                <c:pt idx="1861">
                  <c:v>41309</c:v>
                </c:pt>
                <c:pt idx="1862">
                  <c:v>41310</c:v>
                </c:pt>
                <c:pt idx="1863">
                  <c:v>41311</c:v>
                </c:pt>
                <c:pt idx="1864">
                  <c:v>41312</c:v>
                </c:pt>
                <c:pt idx="1865">
                  <c:v>41313</c:v>
                </c:pt>
                <c:pt idx="1866">
                  <c:v>41314</c:v>
                </c:pt>
                <c:pt idx="1867">
                  <c:v>41315</c:v>
                </c:pt>
                <c:pt idx="1868">
                  <c:v>41316</c:v>
                </c:pt>
                <c:pt idx="1869">
                  <c:v>41317</c:v>
                </c:pt>
                <c:pt idx="1870">
                  <c:v>41318</c:v>
                </c:pt>
                <c:pt idx="1871">
                  <c:v>41319</c:v>
                </c:pt>
                <c:pt idx="1872">
                  <c:v>41320</c:v>
                </c:pt>
                <c:pt idx="1873">
                  <c:v>41321</c:v>
                </c:pt>
                <c:pt idx="1874">
                  <c:v>41322</c:v>
                </c:pt>
                <c:pt idx="1875">
                  <c:v>41323</c:v>
                </c:pt>
                <c:pt idx="1876">
                  <c:v>41324</c:v>
                </c:pt>
                <c:pt idx="1877">
                  <c:v>41325</c:v>
                </c:pt>
                <c:pt idx="1878">
                  <c:v>41326</c:v>
                </c:pt>
                <c:pt idx="1879">
                  <c:v>41327</c:v>
                </c:pt>
                <c:pt idx="1880">
                  <c:v>41328</c:v>
                </c:pt>
                <c:pt idx="1881">
                  <c:v>41329</c:v>
                </c:pt>
                <c:pt idx="1882">
                  <c:v>41330</c:v>
                </c:pt>
                <c:pt idx="1883">
                  <c:v>41331</c:v>
                </c:pt>
                <c:pt idx="1884">
                  <c:v>41332</c:v>
                </c:pt>
                <c:pt idx="1885">
                  <c:v>41333</c:v>
                </c:pt>
                <c:pt idx="1886">
                  <c:v>41334</c:v>
                </c:pt>
                <c:pt idx="1887">
                  <c:v>41335</c:v>
                </c:pt>
                <c:pt idx="1888">
                  <c:v>41336</c:v>
                </c:pt>
                <c:pt idx="1889">
                  <c:v>41337</c:v>
                </c:pt>
                <c:pt idx="1890">
                  <c:v>41338</c:v>
                </c:pt>
                <c:pt idx="1891">
                  <c:v>41339</c:v>
                </c:pt>
                <c:pt idx="1892">
                  <c:v>41340</c:v>
                </c:pt>
                <c:pt idx="1893">
                  <c:v>41341</c:v>
                </c:pt>
                <c:pt idx="1894">
                  <c:v>41342</c:v>
                </c:pt>
                <c:pt idx="1895">
                  <c:v>41343</c:v>
                </c:pt>
                <c:pt idx="1896">
                  <c:v>41344</c:v>
                </c:pt>
                <c:pt idx="1897">
                  <c:v>41345</c:v>
                </c:pt>
                <c:pt idx="1898">
                  <c:v>41346</c:v>
                </c:pt>
                <c:pt idx="1899">
                  <c:v>41347</c:v>
                </c:pt>
                <c:pt idx="1900">
                  <c:v>41348</c:v>
                </c:pt>
                <c:pt idx="1901">
                  <c:v>41349</c:v>
                </c:pt>
                <c:pt idx="1902">
                  <c:v>41350</c:v>
                </c:pt>
                <c:pt idx="1903">
                  <c:v>41351</c:v>
                </c:pt>
                <c:pt idx="1904">
                  <c:v>41352</c:v>
                </c:pt>
                <c:pt idx="1905">
                  <c:v>41353</c:v>
                </c:pt>
                <c:pt idx="1906">
                  <c:v>41354</c:v>
                </c:pt>
                <c:pt idx="1907">
                  <c:v>41355</c:v>
                </c:pt>
                <c:pt idx="1908">
                  <c:v>41356</c:v>
                </c:pt>
                <c:pt idx="1909">
                  <c:v>41357</c:v>
                </c:pt>
                <c:pt idx="1910">
                  <c:v>41358</c:v>
                </c:pt>
                <c:pt idx="1911">
                  <c:v>41359</c:v>
                </c:pt>
                <c:pt idx="1912">
                  <c:v>41360</c:v>
                </c:pt>
                <c:pt idx="1913">
                  <c:v>41361</c:v>
                </c:pt>
                <c:pt idx="1914">
                  <c:v>41362</c:v>
                </c:pt>
                <c:pt idx="1915">
                  <c:v>41363</c:v>
                </c:pt>
                <c:pt idx="1916">
                  <c:v>41364</c:v>
                </c:pt>
                <c:pt idx="1917">
                  <c:v>41365</c:v>
                </c:pt>
                <c:pt idx="1918">
                  <c:v>41366</c:v>
                </c:pt>
                <c:pt idx="1919">
                  <c:v>41367</c:v>
                </c:pt>
                <c:pt idx="1920">
                  <c:v>41368</c:v>
                </c:pt>
                <c:pt idx="1921">
                  <c:v>41369</c:v>
                </c:pt>
                <c:pt idx="1922">
                  <c:v>41370</c:v>
                </c:pt>
                <c:pt idx="1923">
                  <c:v>41371</c:v>
                </c:pt>
                <c:pt idx="1924">
                  <c:v>41372</c:v>
                </c:pt>
                <c:pt idx="1925">
                  <c:v>41373</c:v>
                </c:pt>
                <c:pt idx="1926">
                  <c:v>41374</c:v>
                </c:pt>
                <c:pt idx="1927">
                  <c:v>41375</c:v>
                </c:pt>
                <c:pt idx="1928">
                  <c:v>41376</c:v>
                </c:pt>
                <c:pt idx="1929">
                  <c:v>41377</c:v>
                </c:pt>
                <c:pt idx="1930">
                  <c:v>41378</c:v>
                </c:pt>
                <c:pt idx="1931">
                  <c:v>41379</c:v>
                </c:pt>
                <c:pt idx="1932">
                  <c:v>41380</c:v>
                </c:pt>
                <c:pt idx="1933">
                  <c:v>41381</c:v>
                </c:pt>
                <c:pt idx="1934">
                  <c:v>41382</c:v>
                </c:pt>
                <c:pt idx="1935">
                  <c:v>41383</c:v>
                </c:pt>
                <c:pt idx="1936">
                  <c:v>41384</c:v>
                </c:pt>
                <c:pt idx="1937">
                  <c:v>41385</c:v>
                </c:pt>
                <c:pt idx="1938">
                  <c:v>41386</c:v>
                </c:pt>
                <c:pt idx="1939">
                  <c:v>41387</c:v>
                </c:pt>
                <c:pt idx="1940">
                  <c:v>41388</c:v>
                </c:pt>
                <c:pt idx="1941">
                  <c:v>41389</c:v>
                </c:pt>
                <c:pt idx="1942">
                  <c:v>41390</c:v>
                </c:pt>
                <c:pt idx="1943">
                  <c:v>41391</c:v>
                </c:pt>
                <c:pt idx="1944">
                  <c:v>41392</c:v>
                </c:pt>
                <c:pt idx="1945">
                  <c:v>41393</c:v>
                </c:pt>
                <c:pt idx="1946">
                  <c:v>41394</c:v>
                </c:pt>
                <c:pt idx="1947">
                  <c:v>41395</c:v>
                </c:pt>
                <c:pt idx="1948">
                  <c:v>41396</c:v>
                </c:pt>
                <c:pt idx="1949">
                  <c:v>41397</c:v>
                </c:pt>
                <c:pt idx="1950">
                  <c:v>41398</c:v>
                </c:pt>
                <c:pt idx="1951">
                  <c:v>41399</c:v>
                </c:pt>
                <c:pt idx="1952">
                  <c:v>41400</c:v>
                </c:pt>
                <c:pt idx="1953">
                  <c:v>41401</c:v>
                </c:pt>
                <c:pt idx="1954">
                  <c:v>41402</c:v>
                </c:pt>
                <c:pt idx="1955">
                  <c:v>41403</c:v>
                </c:pt>
                <c:pt idx="1956">
                  <c:v>41404</c:v>
                </c:pt>
                <c:pt idx="1957">
                  <c:v>41405</c:v>
                </c:pt>
                <c:pt idx="1958">
                  <c:v>41406</c:v>
                </c:pt>
                <c:pt idx="1959">
                  <c:v>41407</c:v>
                </c:pt>
                <c:pt idx="1960">
                  <c:v>41408</c:v>
                </c:pt>
                <c:pt idx="1961">
                  <c:v>41409</c:v>
                </c:pt>
                <c:pt idx="1962">
                  <c:v>41410</c:v>
                </c:pt>
                <c:pt idx="1963">
                  <c:v>41411</c:v>
                </c:pt>
                <c:pt idx="1964">
                  <c:v>41412</c:v>
                </c:pt>
                <c:pt idx="1965">
                  <c:v>41413</c:v>
                </c:pt>
                <c:pt idx="1966">
                  <c:v>41414</c:v>
                </c:pt>
                <c:pt idx="1967">
                  <c:v>41415</c:v>
                </c:pt>
                <c:pt idx="1968">
                  <c:v>41416</c:v>
                </c:pt>
                <c:pt idx="1969">
                  <c:v>41417</c:v>
                </c:pt>
                <c:pt idx="1970">
                  <c:v>41418</c:v>
                </c:pt>
                <c:pt idx="1971">
                  <c:v>41419</c:v>
                </c:pt>
                <c:pt idx="1972">
                  <c:v>41420</c:v>
                </c:pt>
                <c:pt idx="1973">
                  <c:v>41421</c:v>
                </c:pt>
                <c:pt idx="1974">
                  <c:v>41422</c:v>
                </c:pt>
                <c:pt idx="1975">
                  <c:v>41423</c:v>
                </c:pt>
                <c:pt idx="1976">
                  <c:v>41424</c:v>
                </c:pt>
                <c:pt idx="1977">
                  <c:v>41425</c:v>
                </c:pt>
                <c:pt idx="1978">
                  <c:v>41426</c:v>
                </c:pt>
                <c:pt idx="1979">
                  <c:v>41427</c:v>
                </c:pt>
                <c:pt idx="1980">
                  <c:v>41428</c:v>
                </c:pt>
                <c:pt idx="1981">
                  <c:v>41429</c:v>
                </c:pt>
                <c:pt idx="1982">
                  <c:v>41430</c:v>
                </c:pt>
                <c:pt idx="1983">
                  <c:v>41431</c:v>
                </c:pt>
                <c:pt idx="1984">
                  <c:v>41432</c:v>
                </c:pt>
                <c:pt idx="1985">
                  <c:v>41433</c:v>
                </c:pt>
                <c:pt idx="1986">
                  <c:v>41434</c:v>
                </c:pt>
                <c:pt idx="1987">
                  <c:v>41435</c:v>
                </c:pt>
                <c:pt idx="1988">
                  <c:v>41436</c:v>
                </c:pt>
                <c:pt idx="1989">
                  <c:v>41437</c:v>
                </c:pt>
                <c:pt idx="1990">
                  <c:v>41438</c:v>
                </c:pt>
                <c:pt idx="1991">
                  <c:v>41439</c:v>
                </c:pt>
                <c:pt idx="1992">
                  <c:v>41440</c:v>
                </c:pt>
                <c:pt idx="1993">
                  <c:v>41441</c:v>
                </c:pt>
                <c:pt idx="1994">
                  <c:v>41442</c:v>
                </c:pt>
                <c:pt idx="1995">
                  <c:v>41443</c:v>
                </c:pt>
                <c:pt idx="1996">
                  <c:v>41444</c:v>
                </c:pt>
                <c:pt idx="1997">
                  <c:v>41445</c:v>
                </c:pt>
                <c:pt idx="1998">
                  <c:v>41446</c:v>
                </c:pt>
                <c:pt idx="1999">
                  <c:v>41447</c:v>
                </c:pt>
                <c:pt idx="2000">
                  <c:v>41448</c:v>
                </c:pt>
                <c:pt idx="2001">
                  <c:v>41449</c:v>
                </c:pt>
                <c:pt idx="2002">
                  <c:v>41450</c:v>
                </c:pt>
                <c:pt idx="2003">
                  <c:v>41451</c:v>
                </c:pt>
                <c:pt idx="2004">
                  <c:v>41452</c:v>
                </c:pt>
                <c:pt idx="2005">
                  <c:v>41453</c:v>
                </c:pt>
                <c:pt idx="2006">
                  <c:v>41454</c:v>
                </c:pt>
                <c:pt idx="2007">
                  <c:v>41455</c:v>
                </c:pt>
                <c:pt idx="2008">
                  <c:v>41456</c:v>
                </c:pt>
                <c:pt idx="2009">
                  <c:v>41457</c:v>
                </c:pt>
                <c:pt idx="2010">
                  <c:v>41458</c:v>
                </c:pt>
                <c:pt idx="2011">
                  <c:v>41459</c:v>
                </c:pt>
                <c:pt idx="2012">
                  <c:v>41460</c:v>
                </c:pt>
                <c:pt idx="2013">
                  <c:v>41461</c:v>
                </c:pt>
                <c:pt idx="2014">
                  <c:v>41462</c:v>
                </c:pt>
                <c:pt idx="2015">
                  <c:v>41463</c:v>
                </c:pt>
                <c:pt idx="2016">
                  <c:v>41464</c:v>
                </c:pt>
                <c:pt idx="2017">
                  <c:v>41465</c:v>
                </c:pt>
                <c:pt idx="2018">
                  <c:v>41466</c:v>
                </c:pt>
                <c:pt idx="2019">
                  <c:v>41467</c:v>
                </c:pt>
                <c:pt idx="2020">
                  <c:v>41468</c:v>
                </c:pt>
                <c:pt idx="2021">
                  <c:v>41469</c:v>
                </c:pt>
                <c:pt idx="2022">
                  <c:v>41470</c:v>
                </c:pt>
                <c:pt idx="2023">
                  <c:v>41471</c:v>
                </c:pt>
                <c:pt idx="2024">
                  <c:v>41472</c:v>
                </c:pt>
                <c:pt idx="2025">
                  <c:v>41473</c:v>
                </c:pt>
                <c:pt idx="2026">
                  <c:v>41474</c:v>
                </c:pt>
                <c:pt idx="2027">
                  <c:v>41475</c:v>
                </c:pt>
                <c:pt idx="2028">
                  <c:v>41476</c:v>
                </c:pt>
                <c:pt idx="2029">
                  <c:v>41477</c:v>
                </c:pt>
                <c:pt idx="2030">
                  <c:v>41478</c:v>
                </c:pt>
                <c:pt idx="2031">
                  <c:v>41479</c:v>
                </c:pt>
                <c:pt idx="2032">
                  <c:v>41480</c:v>
                </c:pt>
                <c:pt idx="2033">
                  <c:v>41481</c:v>
                </c:pt>
                <c:pt idx="2034">
                  <c:v>41482</c:v>
                </c:pt>
                <c:pt idx="2035">
                  <c:v>41483</c:v>
                </c:pt>
                <c:pt idx="2036">
                  <c:v>41484</c:v>
                </c:pt>
                <c:pt idx="2037">
                  <c:v>41485</c:v>
                </c:pt>
                <c:pt idx="2038">
                  <c:v>41486</c:v>
                </c:pt>
                <c:pt idx="2039">
                  <c:v>41487</c:v>
                </c:pt>
                <c:pt idx="2040">
                  <c:v>41488</c:v>
                </c:pt>
                <c:pt idx="2041">
                  <c:v>41489</c:v>
                </c:pt>
                <c:pt idx="2042">
                  <c:v>41490</c:v>
                </c:pt>
                <c:pt idx="2043">
                  <c:v>41491</c:v>
                </c:pt>
                <c:pt idx="2044">
                  <c:v>41492</c:v>
                </c:pt>
                <c:pt idx="2045">
                  <c:v>41493</c:v>
                </c:pt>
                <c:pt idx="2046">
                  <c:v>41494</c:v>
                </c:pt>
                <c:pt idx="2047">
                  <c:v>41495</c:v>
                </c:pt>
                <c:pt idx="2048">
                  <c:v>41496</c:v>
                </c:pt>
                <c:pt idx="2049">
                  <c:v>41497</c:v>
                </c:pt>
                <c:pt idx="2050">
                  <c:v>41498</c:v>
                </c:pt>
                <c:pt idx="2051">
                  <c:v>41499</c:v>
                </c:pt>
                <c:pt idx="2052">
                  <c:v>41500</c:v>
                </c:pt>
                <c:pt idx="2053">
                  <c:v>41501</c:v>
                </c:pt>
                <c:pt idx="2054">
                  <c:v>41502</c:v>
                </c:pt>
                <c:pt idx="2055">
                  <c:v>41503</c:v>
                </c:pt>
                <c:pt idx="2056">
                  <c:v>41504</c:v>
                </c:pt>
                <c:pt idx="2057">
                  <c:v>41505</c:v>
                </c:pt>
                <c:pt idx="2058">
                  <c:v>41506</c:v>
                </c:pt>
                <c:pt idx="2059">
                  <c:v>41507</c:v>
                </c:pt>
                <c:pt idx="2060">
                  <c:v>41508</c:v>
                </c:pt>
                <c:pt idx="2061">
                  <c:v>41509</c:v>
                </c:pt>
                <c:pt idx="2062">
                  <c:v>41510</c:v>
                </c:pt>
                <c:pt idx="2063">
                  <c:v>41511</c:v>
                </c:pt>
                <c:pt idx="2064">
                  <c:v>41512</c:v>
                </c:pt>
                <c:pt idx="2065">
                  <c:v>41513</c:v>
                </c:pt>
                <c:pt idx="2066">
                  <c:v>41514</c:v>
                </c:pt>
                <c:pt idx="2067">
                  <c:v>41515</c:v>
                </c:pt>
                <c:pt idx="2068">
                  <c:v>41516</c:v>
                </c:pt>
                <c:pt idx="2069">
                  <c:v>41517</c:v>
                </c:pt>
                <c:pt idx="2070">
                  <c:v>41518</c:v>
                </c:pt>
                <c:pt idx="2071">
                  <c:v>41519</c:v>
                </c:pt>
                <c:pt idx="2072">
                  <c:v>41520</c:v>
                </c:pt>
                <c:pt idx="2073">
                  <c:v>41521</c:v>
                </c:pt>
                <c:pt idx="2074">
                  <c:v>41522</c:v>
                </c:pt>
                <c:pt idx="2075">
                  <c:v>41523</c:v>
                </c:pt>
                <c:pt idx="2076">
                  <c:v>41524</c:v>
                </c:pt>
                <c:pt idx="2077">
                  <c:v>41525</c:v>
                </c:pt>
                <c:pt idx="2078">
                  <c:v>41526</c:v>
                </c:pt>
                <c:pt idx="2079">
                  <c:v>41527</c:v>
                </c:pt>
                <c:pt idx="2080">
                  <c:v>41528</c:v>
                </c:pt>
                <c:pt idx="2081">
                  <c:v>41529</c:v>
                </c:pt>
                <c:pt idx="2082">
                  <c:v>41530</c:v>
                </c:pt>
                <c:pt idx="2083">
                  <c:v>41531</c:v>
                </c:pt>
                <c:pt idx="2084">
                  <c:v>41532</c:v>
                </c:pt>
                <c:pt idx="2085">
                  <c:v>41533</c:v>
                </c:pt>
                <c:pt idx="2086">
                  <c:v>41534</c:v>
                </c:pt>
                <c:pt idx="2087">
                  <c:v>41535</c:v>
                </c:pt>
                <c:pt idx="2088">
                  <c:v>41536</c:v>
                </c:pt>
                <c:pt idx="2089">
                  <c:v>41537</c:v>
                </c:pt>
                <c:pt idx="2090">
                  <c:v>41538</c:v>
                </c:pt>
                <c:pt idx="2091">
                  <c:v>41539</c:v>
                </c:pt>
                <c:pt idx="2092">
                  <c:v>41540</c:v>
                </c:pt>
                <c:pt idx="2093">
                  <c:v>41541</c:v>
                </c:pt>
                <c:pt idx="2094">
                  <c:v>41542</c:v>
                </c:pt>
                <c:pt idx="2095">
                  <c:v>41543</c:v>
                </c:pt>
                <c:pt idx="2096">
                  <c:v>41544</c:v>
                </c:pt>
                <c:pt idx="2097">
                  <c:v>41545</c:v>
                </c:pt>
                <c:pt idx="2098">
                  <c:v>41546</c:v>
                </c:pt>
                <c:pt idx="2099">
                  <c:v>41547</c:v>
                </c:pt>
                <c:pt idx="2100">
                  <c:v>41548</c:v>
                </c:pt>
                <c:pt idx="2101">
                  <c:v>41549</c:v>
                </c:pt>
                <c:pt idx="2102">
                  <c:v>41550</c:v>
                </c:pt>
                <c:pt idx="2103">
                  <c:v>41551</c:v>
                </c:pt>
                <c:pt idx="2104">
                  <c:v>41552</c:v>
                </c:pt>
                <c:pt idx="2105">
                  <c:v>41553</c:v>
                </c:pt>
                <c:pt idx="2106">
                  <c:v>41554</c:v>
                </c:pt>
                <c:pt idx="2107">
                  <c:v>41555</c:v>
                </c:pt>
                <c:pt idx="2108">
                  <c:v>41556</c:v>
                </c:pt>
                <c:pt idx="2109">
                  <c:v>41557</c:v>
                </c:pt>
                <c:pt idx="2110">
                  <c:v>41558</c:v>
                </c:pt>
                <c:pt idx="2111">
                  <c:v>41559</c:v>
                </c:pt>
                <c:pt idx="2112">
                  <c:v>41560</c:v>
                </c:pt>
                <c:pt idx="2113">
                  <c:v>41561</c:v>
                </c:pt>
                <c:pt idx="2114">
                  <c:v>41562</c:v>
                </c:pt>
                <c:pt idx="2115">
                  <c:v>41563</c:v>
                </c:pt>
                <c:pt idx="2116">
                  <c:v>41564</c:v>
                </c:pt>
                <c:pt idx="2117">
                  <c:v>41565</c:v>
                </c:pt>
                <c:pt idx="2118">
                  <c:v>41566</c:v>
                </c:pt>
                <c:pt idx="2119">
                  <c:v>41567</c:v>
                </c:pt>
                <c:pt idx="2120">
                  <c:v>41568</c:v>
                </c:pt>
                <c:pt idx="2121">
                  <c:v>41569</c:v>
                </c:pt>
                <c:pt idx="2122">
                  <c:v>41570</c:v>
                </c:pt>
                <c:pt idx="2123">
                  <c:v>41571</c:v>
                </c:pt>
                <c:pt idx="2124">
                  <c:v>41572</c:v>
                </c:pt>
                <c:pt idx="2125">
                  <c:v>41573</c:v>
                </c:pt>
                <c:pt idx="2126">
                  <c:v>41574</c:v>
                </c:pt>
                <c:pt idx="2127">
                  <c:v>41575</c:v>
                </c:pt>
                <c:pt idx="2128">
                  <c:v>41576</c:v>
                </c:pt>
                <c:pt idx="2129">
                  <c:v>41577</c:v>
                </c:pt>
                <c:pt idx="2130">
                  <c:v>41578</c:v>
                </c:pt>
                <c:pt idx="2131">
                  <c:v>41579</c:v>
                </c:pt>
                <c:pt idx="2132">
                  <c:v>41580</c:v>
                </c:pt>
                <c:pt idx="2133">
                  <c:v>41581</c:v>
                </c:pt>
                <c:pt idx="2134">
                  <c:v>41582</c:v>
                </c:pt>
                <c:pt idx="2135">
                  <c:v>41583</c:v>
                </c:pt>
                <c:pt idx="2136">
                  <c:v>41584</c:v>
                </c:pt>
                <c:pt idx="2137">
                  <c:v>41585</c:v>
                </c:pt>
                <c:pt idx="2138">
                  <c:v>41586</c:v>
                </c:pt>
                <c:pt idx="2139">
                  <c:v>41587</c:v>
                </c:pt>
                <c:pt idx="2140">
                  <c:v>41588</c:v>
                </c:pt>
                <c:pt idx="2141">
                  <c:v>41589</c:v>
                </c:pt>
                <c:pt idx="2142">
                  <c:v>41590</c:v>
                </c:pt>
                <c:pt idx="2143">
                  <c:v>41591</c:v>
                </c:pt>
                <c:pt idx="2144">
                  <c:v>41592</c:v>
                </c:pt>
                <c:pt idx="2145">
                  <c:v>41593</c:v>
                </c:pt>
                <c:pt idx="2146">
                  <c:v>41594</c:v>
                </c:pt>
                <c:pt idx="2147">
                  <c:v>41595</c:v>
                </c:pt>
                <c:pt idx="2148">
                  <c:v>41596</c:v>
                </c:pt>
                <c:pt idx="2149">
                  <c:v>41597</c:v>
                </c:pt>
                <c:pt idx="2150">
                  <c:v>41598</c:v>
                </c:pt>
                <c:pt idx="2151">
                  <c:v>41599</c:v>
                </c:pt>
                <c:pt idx="2152">
                  <c:v>41600</c:v>
                </c:pt>
                <c:pt idx="2153">
                  <c:v>41601</c:v>
                </c:pt>
                <c:pt idx="2154">
                  <c:v>41602</c:v>
                </c:pt>
                <c:pt idx="2155">
                  <c:v>41603</c:v>
                </c:pt>
                <c:pt idx="2156">
                  <c:v>41604</c:v>
                </c:pt>
                <c:pt idx="2157">
                  <c:v>41605</c:v>
                </c:pt>
                <c:pt idx="2158">
                  <c:v>41606</c:v>
                </c:pt>
                <c:pt idx="2159">
                  <c:v>41607</c:v>
                </c:pt>
                <c:pt idx="2160">
                  <c:v>41608</c:v>
                </c:pt>
                <c:pt idx="2161">
                  <c:v>41609</c:v>
                </c:pt>
                <c:pt idx="2162">
                  <c:v>41610</c:v>
                </c:pt>
                <c:pt idx="2163">
                  <c:v>41611</c:v>
                </c:pt>
                <c:pt idx="2164">
                  <c:v>41612</c:v>
                </c:pt>
                <c:pt idx="2165">
                  <c:v>41613</c:v>
                </c:pt>
                <c:pt idx="2166">
                  <c:v>41614</c:v>
                </c:pt>
                <c:pt idx="2167">
                  <c:v>41615</c:v>
                </c:pt>
                <c:pt idx="2168">
                  <c:v>41616</c:v>
                </c:pt>
                <c:pt idx="2169">
                  <c:v>41617</c:v>
                </c:pt>
                <c:pt idx="2170">
                  <c:v>41618</c:v>
                </c:pt>
                <c:pt idx="2171">
                  <c:v>41619</c:v>
                </c:pt>
                <c:pt idx="2172">
                  <c:v>41620</c:v>
                </c:pt>
                <c:pt idx="2173">
                  <c:v>41621</c:v>
                </c:pt>
                <c:pt idx="2174">
                  <c:v>41622</c:v>
                </c:pt>
                <c:pt idx="2175">
                  <c:v>41623</c:v>
                </c:pt>
                <c:pt idx="2176">
                  <c:v>41624</c:v>
                </c:pt>
                <c:pt idx="2177">
                  <c:v>41625</c:v>
                </c:pt>
                <c:pt idx="2178">
                  <c:v>41626</c:v>
                </c:pt>
                <c:pt idx="2179">
                  <c:v>41627</c:v>
                </c:pt>
                <c:pt idx="2180">
                  <c:v>41628</c:v>
                </c:pt>
                <c:pt idx="2181">
                  <c:v>41629</c:v>
                </c:pt>
                <c:pt idx="2182">
                  <c:v>41630</c:v>
                </c:pt>
                <c:pt idx="2183">
                  <c:v>41631</c:v>
                </c:pt>
                <c:pt idx="2184">
                  <c:v>41632</c:v>
                </c:pt>
                <c:pt idx="2185">
                  <c:v>41633</c:v>
                </c:pt>
                <c:pt idx="2186">
                  <c:v>41634</c:v>
                </c:pt>
                <c:pt idx="2187">
                  <c:v>41635</c:v>
                </c:pt>
                <c:pt idx="2188">
                  <c:v>41636</c:v>
                </c:pt>
                <c:pt idx="2189">
                  <c:v>41637</c:v>
                </c:pt>
                <c:pt idx="2190">
                  <c:v>41638</c:v>
                </c:pt>
                <c:pt idx="2191">
                  <c:v>41639</c:v>
                </c:pt>
                <c:pt idx="2192">
                  <c:v>41640</c:v>
                </c:pt>
                <c:pt idx="2193">
                  <c:v>41641</c:v>
                </c:pt>
                <c:pt idx="2194">
                  <c:v>41642</c:v>
                </c:pt>
                <c:pt idx="2195">
                  <c:v>41643</c:v>
                </c:pt>
                <c:pt idx="2196">
                  <c:v>41644</c:v>
                </c:pt>
                <c:pt idx="2197">
                  <c:v>41645</c:v>
                </c:pt>
                <c:pt idx="2198">
                  <c:v>41646</c:v>
                </c:pt>
                <c:pt idx="2199">
                  <c:v>41647</c:v>
                </c:pt>
                <c:pt idx="2200">
                  <c:v>41648</c:v>
                </c:pt>
                <c:pt idx="2201">
                  <c:v>41649</c:v>
                </c:pt>
                <c:pt idx="2202">
                  <c:v>41650</c:v>
                </c:pt>
                <c:pt idx="2203">
                  <c:v>41651</c:v>
                </c:pt>
                <c:pt idx="2204">
                  <c:v>41652</c:v>
                </c:pt>
                <c:pt idx="2205">
                  <c:v>41653</c:v>
                </c:pt>
                <c:pt idx="2206">
                  <c:v>41654</c:v>
                </c:pt>
                <c:pt idx="2207">
                  <c:v>41655</c:v>
                </c:pt>
                <c:pt idx="2208">
                  <c:v>41656</c:v>
                </c:pt>
                <c:pt idx="2209">
                  <c:v>41657</c:v>
                </c:pt>
                <c:pt idx="2210">
                  <c:v>41658</c:v>
                </c:pt>
                <c:pt idx="2211">
                  <c:v>41659</c:v>
                </c:pt>
                <c:pt idx="2212">
                  <c:v>41660</c:v>
                </c:pt>
                <c:pt idx="2213">
                  <c:v>41661</c:v>
                </c:pt>
                <c:pt idx="2214">
                  <c:v>41662</c:v>
                </c:pt>
                <c:pt idx="2215">
                  <c:v>41663</c:v>
                </c:pt>
                <c:pt idx="2216">
                  <c:v>41664</c:v>
                </c:pt>
                <c:pt idx="2217">
                  <c:v>41665</c:v>
                </c:pt>
                <c:pt idx="2218">
                  <c:v>41666</c:v>
                </c:pt>
                <c:pt idx="2219">
                  <c:v>41667</c:v>
                </c:pt>
                <c:pt idx="2220">
                  <c:v>41668</c:v>
                </c:pt>
                <c:pt idx="2221">
                  <c:v>41669</c:v>
                </c:pt>
                <c:pt idx="2222">
                  <c:v>41670</c:v>
                </c:pt>
                <c:pt idx="2223">
                  <c:v>41671</c:v>
                </c:pt>
                <c:pt idx="2224">
                  <c:v>41672</c:v>
                </c:pt>
                <c:pt idx="2225">
                  <c:v>41673</c:v>
                </c:pt>
                <c:pt idx="2226">
                  <c:v>41674</c:v>
                </c:pt>
                <c:pt idx="2227">
                  <c:v>41675</c:v>
                </c:pt>
                <c:pt idx="2228">
                  <c:v>41676</c:v>
                </c:pt>
                <c:pt idx="2229">
                  <c:v>41677</c:v>
                </c:pt>
                <c:pt idx="2230">
                  <c:v>41678</c:v>
                </c:pt>
                <c:pt idx="2231">
                  <c:v>41679</c:v>
                </c:pt>
                <c:pt idx="2232">
                  <c:v>41680</c:v>
                </c:pt>
                <c:pt idx="2233">
                  <c:v>41681</c:v>
                </c:pt>
                <c:pt idx="2234">
                  <c:v>41682</c:v>
                </c:pt>
                <c:pt idx="2235">
                  <c:v>41683</c:v>
                </c:pt>
                <c:pt idx="2236">
                  <c:v>41684</c:v>
                </c:pt>
                <c:pt idx="2237">
                  <c:v>41685</c:v>
                </c:pt>
                <c:pt idx="2238">
                  <c:v>41686</c:v>
                </c:pt>
                <c:pt idx="2239">
                  <c:v>41687</c:v>
                </c:pt>
                <c:pt idx="2240">
                  <c:v>41688</c:v>
                </c:pt>
                <c:pt idx="2241">
                  <c:v>41689</c:v>
                </c:pt>
                <c:pt idx="2242">
                  <c:v>41690</c:v>
                </c:pt>
                <c:pt idx="2243">
                  <c:v>41691</c:v>
                </c:pt>
                <c:pt idx="2244">
                  <c:v>41692</c:v>
                </c:pt>
                <c:pt idx="2245">
                  <c:v>41693</c:v>
                </c:pt>
                <c:pt idx="2246">
                  <c:v>41694</c:v>
                </c:pt>
                <c:pt idx="2247">
                  <c:v>41695</c:v>
                </c:pt>
                <c:pt idx="2248">
                  <c:v>41696</c:v>
                </c:pt>
                <c:pt idx="2249">
                  <c:v>41697</c:v>
                </c:pt>
                <c:pt idx="2250">
                  <c:v>41698</c:v>
                </c:pt>
                <c:pt idx="2251">
                  <c:v>41699</c:v>
                </c:pt>
                <c:pt idx="2252">
                  <c:v>41700</c:v>
                </c:pt>
                <c:pt idx="2253">
                  <c:v>41701</c:v>
                </c:pt>
                <c:pt idx="2254">
                  <c:v>41702</c:v>
                </c:pt>
                <c:pt idx="2255">
                  <c:v>41703</c:v>
                </c:pt>
                <c:pt idx="2256">
                  <c:v>41704</c:v>
                </c:pt>
                <c:pt idx="2257">
                  <c:v>41705</c:v>
                </c:pt>
                <c:pt idx="2258">
                  <c:v>41706</c:v>
                </c:pt>
                <c:pt idx="2259">
                  <c:v>41707</c:v>
                </c:pt>
                <c:pt idx="2260">
                  <c:v>41708</c:v>
                </c:pt>
                <c:pt idx="2261">
                  <c:v>41709</c:v>
                </c:pt>
                <c:pt idx="2262">
                  <c:v>41710</c:v>
                </c:pt>
                <c:pt idx="2263">
                  <c:v>41711</c:v>
                </c:pt>
                <c:pt idx="2264">
                  <c:v>41712</c:v>
                </c:pt>
                <c:pt idx="2265">
                  <c:v>41713</c:v>
                </c:pt>
                <c:pt idx="2266">
                  <c:v>41714</c:v>
                </c:pt>
                <c:pt idx="2267">
                  <c:v>41715</c:v>
                </c:pt>
                <c:pt idx="2268">
                  <c:v>41716</c:v>
                </c:pt>
                <c:pt idx="2269">
                  <c:v>41717</c:v>
                </c:pt>
                <c:pt idx="2270">
                  <c:v>41718</c:v>
                </c:pt>
                <c:pt idx="2271">
                  <c:v>41719</c:v>
                </c:pt>
                <c:pt idx="2272">
                  <c:v>41720</c:v>
                </c:pt>
                <c:pt idx="2273">
                  <c:v>41721</c:v>
                </c:pt>
                <c:pt idx="2274">
                  <c:v>41722</c:v>
                </c:pt>
                <c:pt idx="2275">
                  <c:v>41723</c:v>
                </c:pt>
                <c:pt idx="2276">
                  <c:v>41724</c:v>
                </c:pt>
                <c:pt idx="2277">
                  <c:v>41725</c:v>
                </c:pt>
                <c:pt idx="2278">
                  <c:v>41726</c:v>
                </c:pt>
                <c:pt idx="2279">
                  <c:v>41727</c:v>
                </c:pt>
                <c:pt idx="2280">
                  <c:v>41728</c:v>
                </c:pt>
                <c:pt idx="2281">
                  <c:v>41729</c:v>
                </c:pt>
                <c:pt idx="2282">
                  <c:v>41730</c:v>
                </c:pt>
                <c:pt idx="2283">
                  <c:v>41731</c:v>
                </c:pt>
                <c:pt idx="2284">
                  <c:v>41732</c:v>
                </c:pt>
                <c:pt idx="2285">
                  <c:v>41733</c:v>
                </c:pt>
                <c:pt idx="2286">
                  <c:v>41734</c:v>
                </c:pt>
                <c:pt idx="2287">
                  <c:v>41735</c:v>
                </c:pt>
                <c:pt idx="2288">
                  <c:v>41736</c:v>
                </c:pt>
                <c:pt idx="2289">
                  <c:v>41737</c:v>
                </c:pt>
                <c:pt idx="2290">
                  <c:v>41738</c:v>
                </c:pt>
                <c:pt idx="2291">
                  <c:v>41739</c:v>
                </c:pt>
                <c:pt idx="2292">
                  <c:v>41740</c:v>
                </c:pt>
                <c:pt idx="2293">
                  <c:v>41741</c:v>
                </c:pt>
                <c:pt idx="2294">
                  <c:v>41742</c:v>
                </c:pt>
                <c:pt idx="2295">
                  <c:v>41743</c:v>
                </c:pt>
                <c:pt idx="2296">
                  <c:v>41744</c:v>
                </c:pt>
                <c:pt idx="2297">
                  <c:v>41745</c:v>
                </c:pt>
                <c:pt idx="2298">
                  <c:v>41746</c:v>
                </c:pt>
                <c:pt idx="2299">
                  <c:v>41747</c:v>
                </c:pt>
                <c:pt idx="2300">
                  <c:v>41748</c:v>
                </c:pt>
                <c:pt idx="2301">
                  <c:v>41749</c:v>
                </c:pt>
                <c:pt idx="2302">
                  <c:v>41750</c:v>
                </c:pt>
                <c:pt idx="2303">
                  <c:v>41751</c:v>
                </c:pt>
                <c:pt idx="2304">
                  <c:v>41752</c:v>
                </c:pt>
                <c:pt idx="2305">
                  <c:v>41753</c:v>
                </c:pt>
                <c:pt idx="2306">
                  <c:v>41754</c:v>
                </c:pt>
                <c:pt idx="2307">
                  <c:v>41755</c:v>
                </c:pt>
                <c:pt idx="2308">
                  <c:v>41756</c:v>
                </c:pt>
                <c:pt idx="2309">
                  <c:v>41757</c:v>
                </c:pt>
                <c:pt idx="2310">
                  <c:v>41758</c:v>
                </c:pt>
                <c:pt idx="2311">
                  <c:v>41759</c:v>
                </c:pt>
                <c:pt idx="2312">
                  <c:v>41760</c:v>
                </c:pt>
                <c:pt idx="2313">
                  <c:v>41761</c:v>
                </c:pt>
                <c:pt idx="2314">
                  <c:v>41762</c:v>
                </c:pt>
                <c:pt idx="2315">
                  <c:v>41763</c:v>
                </c:pt>
                <c:pt idx="2316">
                  <c:v>41764</c:v>
                </c:pt>
                <c:pt idx="2317">
                  <c:v>41765</c:v>
                </c:pt>
                <c:pt idx="2318">
                  <c:v>41766</c:v>
                </c:pt>
                <c:pt idx="2319">
                  <c:v>41767</c:v>
                </c:pt>
                <c:pt idx="2320">
                  <c:v>41768</c:v>
                </c:pt>
                <c:pt idx="2321">
                  <c:v>41769</c:v>
                </c:pt>
                <c:pt idx="2322">
                  <c:v>41770</c:v>
                </c:pt>
                <c:pt idx="2323">
                  <c:v>41771</c:v>
                </c:pt>
                <c:pt idx="2324">
                  <c:v>41772</c:v>
                </c:pt>
                <c:pt idx="2325">
                  <c:v>41773</c:v>
                </c:pt>
                <c:pt idx="2326">
                  <c:v>41774</c:v>
                </c:pt>
                <c:pt idx="2327">
                  <c:v>41775</c:v>
                </c:pt>
                <c:pt idx="2328">
                  <c:v>41776</c:v>
                </c:pt>
                <c:pt idx="2329">
                  <c:v>41777</c:v>
                </c:pt>
                <c:pt idx="2330">
                  <c:v>41778</c:v>
                </c:pt>
                <c:pt idx="2331">
                  <c:v>41779</c:v>
                </c:pt>
                <c:pt idx="2332">
                  <c:v>41780</c:v>
                </c:pt>
                <c:pt idx="2333">
                  <c:v>41781</c:v>
                </c:pt>
                <c:pt idx="2334">
                  <c:v>41782</c:v>
                </c:pt>
                <c:pt idx="2335">
                  <c:v>41783</c:v>
                </c:pt>
                <c:pt idx="2336">
                  <c:v>41784</c:v>
                </c:pt>
                <c:pt idx="2337">
                  <c:v>41785</c:v>
                </c:pt>
                <c:pt idx="2338">
                  <c:v>41786</c:v>
                </c:pt>
                <c:pt idx="2339">
                  <c:v>41787</c:v>
                </c:pt>
                <c:pt idx="2340">
                  <c:v>41788</c:v>
                </c:pt>
                <c:pt idx="2341">
                  <c:v>41789</c:v>
                </c:pt>
                <c:pt idx="2342">
                  <c:v>41790</c:v>
                </c:pt>
                <c:pt idx="2343">
                  <c:v>41791</c:v>
                </c:pt>
                <c:pt idx="2344">
                  <c:v>41792</c:v>
                </c:pt>
                <c:pt idx="2345">
                  <c:v>41793</c:v>
                </c:pt>
                <c:pt idx="2346">
                  <c:v>41794</c:v>
                </c:pt>
                <c:pt idx="2347">
                  <c:v>41795</c:v>
                </c:pt>
                <c:pt idx="2348">
                  <c:v>41796</c:v>
                </c:pt>
                <c:pt idx="2349">
                  <c:v>41797</c:v>
                </c:pt>
                <c:pt idx="2350">
                  <c:v>41798</c:v>
                </c:pt>
                <c:pt idx="2351">
                  <c:v>41799</c:v>
                </c:pt>
                <c:pt idx="2352">
                  <c:v>41800</c:v>
                </c:pt>
                <c:pt idx="2353">
                  <c:v>41801</c:v>
                </c:pt>
                <c:pt idx="2354">
                  <c:v>41802</c:v>
                </c:pt>
                <c:pt idx="2355">
                  <c:v>41803</c:v>
                </c:pt>
                <c:pt idx="2356">
                  <c:v>41804</c:v>
                </c:pt>
                <c:pt idx="2357">
                  <c:v>41805</c:v>
                </c:pt>
                <c:pt idx="2358">
                  <c:v>41806</c:v>
                </c:pt>
                <c:pt idx="2359">
                  <c:v>41807</c:v>
                </c:pt>
                <c:pt idx="2360">
                  <c:v>41808</c:v>
                </c:pt>
                <c:pt idx="2361">
                  <c:v>41809</c:v>
                </c:pt>
                <c:pt idx="2362">
                  <c:v>41810</c:v>
                </c:pt>
                <c:pt idx="2363">
                  <c:v>41811</c:v>
                </c:pt>
                <c:pt idx="2364">
                  <c:v>41812</c:v>
                </c:pt>
                <c:pt idx="2365">
                  <c:v>41813</c:v>
                </c:pt>
                <c:pt idx="2366">
                  <c:v>41814</c:v>
                </c:pt>
                <c:pt idx="2367">
                  <c:v>41815</c:v>
                </c:pt>
                <c:pt idx="2368">
                  <c:v>41816</c:v>
                </c:pt>
                <c:pt idx="2369">
                  <c:v>41817</c:v>
                </c:pt>
                <c:pt idx="2370">
                  <c:v>41818</c:v>
                </c:pt>
                <c:pt idx="2371">
                  <c:v>41819</c:v>
                </c:pt>
                <c:pt idx="2372">
                  <c:v>41820</c:v>
                </c:pt>
                <c:pt idx="2373">
                  <c:v>41821</c:v>
                </c:pt>
                <c:pt idx="2374">
                  <c:v>41822</c:v>
                </c:pt>
                <c:pt idx="2375">
                  <c:v>41823</c:v>
                </c:pt>
                <c:pt idx="2376">
                  <c:v>41824</c:v>
                </c:pt>
                <c:pt idx="2377">
                  <c:v>41825</c:v>
                </c:pt>
                <c:pt idx="2378">
                  <c:v>41826</c:v>
                </c:pt>
                <c:pt idx="2379">
                  <c:v>41827</c:v>
                </c:pt>
                <c:pt idx="2380">
                  <c:v>41828</c:v>
                </c:pt>
                <c:pt idx="2381">
                  <c:v>41829</c:v>
                </c:pt>
                <c:pt idx="2382">
                  <c:v>41830</c:v>
                </c:pt>
                <c:pt idx="2383">
                  <c:v>41831</c:v>
                </c:pt>
                <c:pt idx="2384">
                  <c:v>41832</c:v>
                </c:pt>
                <c:pt idx="2385">
                  <c:v>41833</c:v>
                </c:pt>
                <c:pt idx="2386">
                  <c:v>41834</c:v>
                </c:pt>
                <c:pt idx="2387">
                  <c:v>41835</c:v>
                </c:pt>
                <c:pt idx="2388">
                  <c:v>41836</c:v>
                </c:pt>
                <c:pt idx="2389">
                  <c:v>41837</c:v>
                </c:pt>
                <c:pt idx="2390">
                  <c:v>41838</c:v>
                </c:pt>
                <c:pt idx="2391">
                  <c:v>41839</c:v>
                </c:pt>
                <c:pt idx="2392">
                  <c:v>41840</c:v>
                </c:pt>
                <c:pt idx="2393">
                  <c:v>41841</c:v>
                </c:pt>
                <c:pt idx="2394">
                  <c:v>41842</c:v>
                </c:pt>
                <c:pt idx="2395">
                  <c:v>41843</c:v>
                </c:pt>
                <c:pt idx="2396">
                  <c:v>41844</c:v>
                </c:pt>
                <c:pt idx="2397">
                  <c:v>41845</c:v>
                </c:pt>
                <c:pt idx="2398">
                  <c:v>41846</c:v>
                </c:pt>
                <c:pt idx="2399">
                  <c:v>41847</c:v>
                </c:pt>
                <c:pt idx="2400">
                  <c:v>41848</c:v>
                </c:pt>
                <c:pt idx="2401">
                  <c:v>41849</c:v>
                </c:pt>
                <c:pt idx="2402">
                  <c:v>41850</c:v>
                </c:pt>
                <c:pt idx="2403">
                  <c:v>41851</c:v>
                </c:pt>
                <c:pt idx="2404">
                  <c:v>41852</c:v>
                </c:pt>
                <c:pt idx="2405">
                  <c:v>41853</c:v>
                </c:pt>
                <c:pt idx="2406">
                  <c:v>41854</c:v>
                </c:pt>
                <c:pt idx="2407">
                  <c:v>41855</c:v>
                </c:pt>
                <c:pt idx="2408">
                  <c:v>41856</c:v>
                </c:pt>
                <c:pt idx="2409">
                  <c:v>41857</c:v>
                </c:pt>
                <c:pt idx="2410">
                  <c:v>41858</c:v>
                </c:pt>
                <c:pt idx="2411">
                  <c:v>41859</c:v>
                </c:pt>
                <c:pt idx="2412">
                  <c:v>41860</c:v>
                </c:pt>
                <c:pt idx="2413">
                  <c:v>41861</c:v>
                </c:pt>
                <c:pt idx="2414">
                  <c:v>41862</c:v>
                </c:pt>
                <c:pt idx="2415">
                  <c:v>41863</c:v>
                </c:pt>
                <c:pt idx="2416">
                  <c:v>41864</c:v>
                </c:pt>
                <c:pt idx="2417">
                  <c:v>41865</c:v>
                </c:pt>
                <c:pt idx="2418">
                  <c:v>41866</c:v>
                </c:pt>
                <c:pt idx="2419">
                  <c:v>41867</c:v>
                </c:pt>
                <c:pt idx="2420">
                  <c:v>41868</c:v>
                </c:pt>
                <c:pt idx="2421">
                  <c:v>41869</c:v>
                </c:pt>
                <c:pt idx="2422">
                  <c:v>41870</c:v>
                </c:pt>
                <c:pt idx="2423">
                  <c:v>41871</c:v>
                </c:pt>
                <c:pt idx="2424">
                  <c:v>41872</c:v>
                </c:pt>
                <c:pt idx="2425">
                  <c:v>41873</c:v>
                </c:pt>
                <c:pt idx="2426">
                  <c:v>41874</c:v>
                </c:pt>
                <c:pt idx="2427">
                  <c:v>41875</c:v>
                </c:pt>
                <c:pt idx="2428">
                  <c:v>41876</c:v>
                </c:pt>
                <c:pt idx="2429">
                  <c:v>41877</c:v>
                </c:pt>
                <c:pt idx="2430">
                  <c:v>41878</c:v>
                </c:pt>
                <c:pt idx="2431">
                  <c:v>41879</c:v>
                </c:pt>
                <c:pt idx="2432">
                  <c:v>41880</c:v>
                </c:pt>
                <c:pt idx="2433">
                  <c:v>41881</c:v>
                </c:pt>
                <c:pt idx="2434">
                  <c:v>41882</c:v>
                </c:pt>
                <c:pt idx="2435">
                  <c:v>41883</c:v>
                </c:pt>
                <c:pt idx="2436">
                  <c:v>41884</c:v>
                </c:pt>
                <c:pt idx="2437">
                  <c:v>41885</c:v>
                </c:pt>
                <c:pt idx="2438">
                  <c:v>41886</c:v>
                </c:pt>
                <c:pt idx="2439">
                  <c:v>41887</c:v>
                </c:pt>
                <c:pt idx="2440">
                  <c:v>41888</c:v>
                </c:pt>
                <c:pt idx="2441">
                  <c:v>41889</c:v>
                </c:pt>
                <c:pt idx="2442">
                  <c:v>41890</c:v>
                </c:pt>
                <c:pt idx="2443">
                  <c:v>41891</c:v>
                </c:pt>
                <c:pt idx="2444">
                  <c:v>41892</c:v>
                </c:pt>
                <c:pt idx="2445">
                  <c:v>41893</c:v>
                </c:pt>
                <c:pt idx="2446">
                  <c:v>41894</c:v>
                </c:pt>
                <c:pt idx="2447">
                  <c:v>41895</c:v>
                </c:pt>
                <c:pt idx="2448">
                  <c:v>41896</c:v>
                </c:pt>
                <c:pt idx="2449">
                  <c:v>41897</c:v>
                </c:pt>
                <c:pt idx="2450">
                  <c:v>41898</c:v>
                </c:pt>
                <c:pt idx="2451">
                  <c:v>41899</c:v>
                </c:pt>
                <c:pt idx="2452">
                  <c:v>41900</c:v>
                </c:pt>
                <c:pt idx="2453">
                  <c:v>41901</c:v>
                </c:pt>
                <c:pt idx="2454">
                  <c:v>41902</c:v>
                </c:pt>
                <c:pt idx="2455">
                  <c:v>41903</c:v>
                </c:pt>
                <c:pt idx="2456">
                  <c:v>41904</c:v>
                </c:pt>
                <c:pt idx="2457">
                  <c:v>41905</c:v>
                </c:pt>
                <c:pt idx="2458">
                  <c:v>41906</c:v>
                </c:pt>
                <c:pt idx="2459">
                  <c:v>41907</c:v>
                </c:pt>
                <c:pt idx="2460">
                  <c:v>41908</c:v>
                </c:pt>
                <c:pt idx="2461">
                  <c:v>41909</c:v>
                </c:pt>
                <c:pt idx="2462">
                  <c:v>41910</c:v>
                </c:pt>
                <c:pt idx="2463">
                  <c:v>41911</c:v>
                </c:pt>
                <c:pt idx="2464">
                  <c:v>41912</c:v>
                </c:pt>
                <c:pt idx="2465">
                  <c:v>41913</c:v>
                </c:pt>
                <c:pt idx="2466">
                  <c:v>41914</c:v>
                </c:pt>
                <c:pt idx="2467">
                  <c:v>41915</c:v>
                </c:pt>
                <c:pt idx="2468">
                  <c:v>41916</c:v>
                </c:pt>
                <c:pt idx="2469">
                  <c:v>41917</c:v>
                </c:pt>
                <c:pt idx="2470">
                  <c:v>41918</c:v>
                </c:pt>
                <c:pt idx="2471">
                  <c:v>41919</c:v>
                </c:pt>
                <c:pt idx="2472">
                  <c:v>41920</c:v>
                </c:pt>
                <c:pt idx="2473">
                  <c:v>41921</c:v>
                </c:pt>
                <c:pt idx="2474">
                  <c:v>41922</c:v>
                </c:pt>
                <c:pt idx="2475">
                  <c:v>41923</c:v>
                </c:pt>
                <c:pt idx="2476">
                  <c:v>41924</c:v>
                </c:pt>
                <c:pt idx="2477">
                  <c:v>41925</c:v>
                </c:pt>
                <c:pt idx="2478">
                  <c:v>41926</c:v>
                </c:pt>
                <c:pt idx="2479">
                  <c:v>41927</c:v>
                </c:pt>
                <c:pt idx="2480">
                  <c:v>41928</c:v>
                </c:pt>
                <c:pt idx="2481">
                  <c:v>41929</c:v>
                </c:pt>
                <c:pt idx="2482">
                  <c:v>41930</c:v>
                </c:pt>
                <c:pt idx="2483">
                  <c:v>41931</c:v>
                </c:pt>
                <c:pt idx="2484">
                  <c:v>41932</c:v>
                </c:pt>
                <c:pt idx="2485">
                  <c:v>41933</c:v>
                </c:pt>
                <c:pt idx="2486">
                  <c:v>41934</c:v>
                </c:pt>
                <c:pt idx="2487">
                  <c:v>41935</c:v>
                </c:pt>
                <c:pt idx="2488">
                  <c:v>41936</c:v>
                </c:pt>
                <c:pt idx="2489">
                  <c:v>41937</c:v>
                </c:pt>
                <c:pt idx="2490">
                  <c:v>41938</c:v>
                </c:pt>
                <c:pt idx="2491">
                  <c:v>41939</c:v>
                </c:pt>
                <c:pt idx="2492">
                  <c:v>41940</c:v>
                </c:pt>
                <c:pt idx="2493">
                  <c:v>41941</c:v>
                </c:pt>
                <c:pt idx="2494">
                  <c:v>41942</c:v>
                </c:pt>
                <c:pt idx="2495">
                  <c:v>41943</c:v>
                </c:pt>
                <c:pt idx="2496">
                  <c:v>41944</c:v>
                </c:pt>
                <c:pt idx="2497">
                  <c:v>41945</c:v>
                </c:pt>
                <c:pt idx="2498">
                  <c:v>41946</c:v>
                </c:pt>
                <c:pt idx="2499">
                  <c:v>41947</c:v>
                </c:pt>
                <c:pt idx="2500">
                  <c:v>41948</c:v>
                </c:pt>
                <c:pt idx="2501">
                  <c:v>41949</c:v>
                </c:pt>
                <c:pt idx="2502">
                  <c:v>41950</c:v>
                </c:pt>
                <c:pt idx="2503">
                  <c:v>41951</c:v>
                </c:pt>
                <c:pt idx="2504">
                  <c:v>41952</c:v>
                </c:pt>
                <c:pt idx="2505">
                  <c:v>41953</c:v>
                </c:pt>
                <c:pt idx="2506">
                  <c:v>41954</c:v>
                </c:pt>
                <c:pt idx="2507">
                  <c:v>41955</c:v>
                </c:pt>
                <c:pt idx="2508">
                  <c:v>41956</c:v>
                </c:pt>
                <c:pt idx="2509">
                  <c:v>41957</c:v>
                </c:pt>
                <c:pt idx="2510">
                  <c:v>41958</c:v>
                </c:pt>
                <c:pt idx="2511">
                  <c:v>41959</c:v>
                </c:pt>
                <c:pt idx="2512">
                  <c:v>41960</c:v>
                </c:pt>
                <c:pt idx="2513">
                  <c:v>41961</c:v>
                </c:pt>
                <c:pt idx="2514">
                  <c:v>41962</c:v>
                </c:pt>
                <c:pt idx="2515">
                  <c:v>41963</c:v>
                </c:pt>
                <c:pt idx="2516">
                  <c:v>41964</c:v>
                </c:pt>
                <c:pt idx="2517">
                  <c:v>41965</c:v>
                </c:pt>
                <c:pt idx="2518">
                  <c:v>41966</c:v>
                </c:pt>
                <c:pt idx="2519">
                  <c:v>41967</c:v>
                </c:pt>
                <c:pt idx="2520">
                  <c:v>41968</c:v>
                </c:pt>
                <c:pt idx="2521">
                  <c:v>41969</c:v>
                </c:pt>
                <c:pt idx="2522">
                  <c:v>41970</c:v>
                </c:pt>
                <c:pt idx="2523">
                  <c:v>41971</c:v>
                </c:pt>
                <c:pt idx="2524">
                  <c:v>41972</c:v>
                </c:pt>
                <c:pt idx="2525">
                  <c:v>41973</c:v>
                </c:pt>
                <c:pt idx="2526">
                  <c:v>41974</c:v>
                </c:pt>
                <c:pt idx="2527">
                  <c:v>41975</c:v>
                </c:pt>
                <c:pt idx="2528">
                  <c:v>41976</c:v>
                </c:pt>
                <c:pt idx="2529">
                  <c:v>41977</c:v>
                </c:pt>
                <c:pt idx="2530">
                  <c:v>41978</c:v>
                </c:pt>
                <c:pt idx="2531">
                  <c:v>41979</c:v>
                </c:pt>
                <c:pt idx="2532">
                  <c:v>41980</c:v>
                </c:pt>
                <c:pt idx="2533">
                  <c:v>41981</c:v>
                </c:pt>
                <c:pt idx="2534">
                  <c:v>41982</c:v>
                </c:pt>
                <c:pt idx="2535">
                  <c:v>41983</c:v>
                </c:pt>
                <c:pt idx="2536">
                  <c:v>41984</c:v>
                </c:pt>
                <c:pt idx="2537">
                  <c:v>41985</c:v>
                </c:pt>
                <c:pt idx="2538">
                  <c:v>41986</c:v>
                </c:pt>
                <c:pt idx="2539">
                  <c:v>41987</c:v>
                </c:pt>
                <c:pt idx="2540">
                  <c:v>41988</c:v>
                </c:pt>
                <c:pt idx="2541">
                  <c:v>41989</c:v>
                </c:pt>
                <c:pt idx="2542">
                  <c:v>41990</c:v>
                </c:pt>
                <c:pt idx="2543">
                  <c:v>41991</c:v>
                </c:pt>
                <c:pt idx="2544">
                  <c:v>41992</c:v>
                </c:pt>
                <c:pt idx="2545">
                  <c:v>41993</c:v>
                </c:pt>
                <c:pt idx="2546">
                  <c:v>41994</c:v>
                </c:pt>
                <c:pt idx="2547">
                  <c:v>41995</c:v>
                </c:pt>
                <c:pt idx="2548">
                  <c:v>41996</c:v>
                </c:pt>
                <c:pt idx="2549">
                  <c:v>41997</c:v>
                </c:pt>
                <c:pt idx="2550">
                  <c:v>41998</c:v>
                </c:pt>
                <c:pt idx="2551">
                  <c:v>41999</c:v>
                </c:pt>
                <c:pt idx="2552">
                  <c:v>42000</c:v>
                </c:pt>
                <c:pt idx="2553">
                  <c:v>42001</c:v>
                </c:pt>
                <c:pt idx="2554">
                  <c:v>42002</c:v>
                </c:pt>
                <c:pt idx="2555">
                  <c:v>42003</c:v>
                </c:pt>
                <c:pt idx="2556">
                  <c:v>42004</c:v>
                </c:pt>
                <c:pt idx="2557">
                  <c:v>42005</c:v>
                </c:pt>
                <c:pt idx="2558">
                  <c:v>42006</c:v>
                </c:pt>
                <c:pt idx="2559">
                  <c:v>42007</c:v>
                </c:pt>
                <c:pt idx="2560">
                  <c:v>42008</c:v>
                </c:pt>
                <c:pt idx="2561">
                  <c:v>42009</c:v>
                </c:pt>
                <c:pt idx="2562">
                  <c:v>42010</c:v>
                </c:pt>
                <c:pt idx="2563">
                  <c:v>42011</c:v>
                </c:pt>
                <c:pt idx="2564">
                  <c:v>42012</c:v>
                </c:pt>
                <c:pt idx="2565">
                  <c:v>42013</c:v>
                </c:pt>
                <c:pt idx="2566">
                  <c:v>42014</c:v>
                </c:pt>
                <c:pt idx="2567">
                  <c:v>42015</c:v>
                </c:pt>
                <c:pt idx="2568">
                  <c:v>42016</c:v>
                </c:pt>
                <c:pt idx="2569">
                  <c:v>42017</c:v>
                </c:pt>
                <c:pt idx="2570">
                  <c:v>42018</c:v>
                </c:pt>
                <c:pt idx="2571">
                  <c:v>42019</c:v>
                </c:pt>
                <c:pt idx="2572">
                  <c:v>42020</c:v>
                </c:pt>
                <c:pt idx="2573">
                  <c:v>42021</c:v>
                </c:pt>
                <c:pt idx="2574">
                  <c:v>42022</c:v>
                </c:pt>
                <c:pt idx="2575">
                  <c:v>42023</c:v>
                </c:pt>
                <c:pt idx="2576">
                  <c:v>42024</c:v>
                </c:pt>
                <c:pt idx="2577">
                  <c:v>42025</c:v>
                </c:pt>
                <c:pt idx="2578">
                  <c:v>42026</c:v>
                </c:pt>
                <c:pt idx="2579">
                  <c:v>42027</c:v>
                </c:pt>
                <c:pt idx="2580">
                  <c:v>42028</c:v>
                </c:pt>
                <c:pt idx="2581">
                  <c:v>42029</c:v>
                </c:pt>
                <c:pt idx="2582">
                  <c:v>42030</c:v>
                </c:pt>
                <c:pt idx="2583">
                  <c:v>42031</c:v>
                </c:pt>
                <c:pt idx="2584">
                  <c:v>42032</c:v>
                </c:pt>
                <c:pt idx="2585">
                  <c:v>42033</c:v>
                </c:pt>
                <c:pt idx="2586">
                  <c:v>42034</c:v>
                </c:pt>
                <c:pt idx="2587">
                  <c:v>42035</c:v>
                </c:pt>
                <c:pt idx="2588">
                  <c:v>42036</c:v>
                </c:pt>
                <c:pt idx="2589">
                  <c:v>42037</c:v>
                </c:pt>
                <c:pt idx="2590">
                  <c:v>42038</c:v>
                </c:pt>
                <c:pt idx="2591">
                  <c:v>42039</c:v>
                </c:pt>
                <c:pt idx="2592">
                  <c:v>42040</c:v>
                </c:pt>
                <c:pt idx="2593">
                  <c:v>42041</c:v>
                </c:pt>
                <c:pt idx="2594">
                  <c:v>42042</c:v>
                </c:pt>
                <c:pt idx="2595">
                  <c:v>42043</c:v>
                </c:pt>
                <c:pt idx="2596">
                  <c:v>42044</c:v>
                </c:pt>
                <c:pt idx="2597">
                  <c:v>42045</c:v>
                </c:pt>
                <c:pt idx="2598">
                  <c:v>42046</c:v>
                </c:pt>
                <c:pt idx="2599">
                  <c:v>42047</c:v>
                </c:pt>
                <c:pt idx="2600">
                  <c:v>42048</c:v>
                </c:pt>
                <c:pt idx="2601">
                  <c:v>42049</c:v>
                </c:pt>
                <c:pt idx="2602">
                  <c:v>42050</c:v>
                </c:pt>
                <c:pt idx="2603">
                  <c:v>42051</c:v>
                </c:pt>
                <c:pt idx="2604">
                  <c:v>42052</c:v>
                </c:pt>
                <c:pt idx="2605">
                  <c:v>42053</c:v>
                </c:pt>
                <c:pt idx="2606">
                  <c:v>42054</c:v>
                </c:pt>
                <c:pt idx="2607">
                  <c:v>42055</c:v>
                </c:pt>
                <c:pt idx="2608">
                  <c:v>42056</c:v>
                </c:pt>
                <c:pt idx="2609">
                  <c:v>42057</c:v>
                </c:pt>
                <c:pt idx="2610">
                  <c:v>42058</c:v>
                </c:pt>
                <c:pt idx="2611">
                  <c:v>42059</c:v>
                </c:pt>
                <c:pt idx="2612">
                  <c:v>42060</c:v>
                </c:pt>
                <c:pt idx="2613">
                  <c:v>42061</c:v>
                </c:pt>
                <c:pt idx="2614">
                  <c:v>42062</c:v>
                </c:pt>
                <c:pt idx="2615">
                  <c:v>42063</c:v>
                </c:pt>
                <c:pt idx="2616">
                  <c:v>42064</c:v>
                </c:pt>
                <c:pt idx="2617">
                  <c:v>42065</c:v>
                </c:pt>
                <c:pt idx="2618">
                  <c:v>42066</c:v>
                </c:pt>
                <c:pt idx="2619">
                  <c:v>42067</c:v>
                </c:pt>
                <c:pt idx="2620">
                  <c:v>42068</c:v>
                </c:pt>
                <c:pt idx="2621">
                  <c:v>42069</c:v>
                </c:pt>
                <c:pt idx="2622">
                  <c:v>42070</c:v>
                </c:pt>
                <c:pt idx="2623">
                  <c:v>42071</c:v>
                </c:pt>
                <c:pt idx="2624">
                  <c:v>42072</c:v>
                </c:pt>
                <c:pt idx="2625">
                  <c:v>42073</c:v>
                </c:pt>
                <c:pt idx="2626">
                  <c:v>42074</c:v>
                </c:pt>
                <c:pt idx="2627">
                  <c:v>42075</c:v>
                </c:pt>
                <c:pt idx="2628">
                  <c:v>42076</c:v>
                </c:pt>
                <c:pt idx="2629">
                  <c:v>42077</c:v>
                </c:pt>
                <c:pt idx="2630">
                  <c:v>42078</c:v>
                </c:pt>
                <c:pt idx="2631">
                  <c:v>42079</c:v>
                </c:pt>
                <c:pt idx="2632">
                  <c:v>42080</c:v>
                </c:pt>
                <c:pt idx="2633">
                  <c:v>42081</c:v>
                </c:pt>
                <c:pt idx="2634">
                  <c:v>42082</c:v>
                </c:pt>
                <c:pt idx="2635">
                  <c:v>42083</c:v>
                </c:pt>
                <c:pt idx="2636">
                  <c:v>42084</c:v>
                </c:pt>
                <c:pt idx="2637">
                  <c:v>42085</c:v>
                </c:pt>
                <c:pt idx="2638">
                  <c:v>42086</c:v>
                </c:pt>
                <c:pt idx="2639">
                  <c:v>42087</c:v>
                </c:pt>
                <c:pt idx="2640">
                  <c:v>42088</c:v>
                </c:pt>
                <c:pt idx="2641">
                  <c:v>42089</c:v>
                </c:pt>
                <c:pt idx="2642">
                  <c:v>42090</c:v>
                </c:pt>
                <c:pt idx="2643">
                  <c:v>42091</c:v>
                </c:pt>
                <c:pt idx="2644">
                  <c:v>42092</c:v>
                </c:pt>
                <c:pt idx="2645">
                  <c:v>42093</c:v>
                </c:pt>
                <c:pt idx="2646">
                  <c:v>42094</c:v>
                </c:pt>
                <c:pt idx="2647">
                  <c:v>42095</c:v>
                </c:pt>
                <c:pt idx="2648">
                  <c:v>42096</c:v>
                </c:pt>
                <c:pt idx="2649">
                  <c:v>42097</c:v>
                </c:pt>
                <c:pt idx="2650">
                  <c:v>42098</c:v>
                </c:pt>
                <c:pt idx="2651">
                  <c:v>42099</c:v>
                </c:pt>
                <c:pt idx="2652">
                  <c:v>42100</c:v>
                </c:pt>
                <c:pt idx="2653">
                  <c:v>42101</c:v>
                </c:pt>
                <c:pt idx="2654">
                  <c:v>42102</c:v>
                </c:pt>
                <c:pt idx="2655">
                  <c:v>42103</c:v>
                </c:pt>
                <c:pt idx="2656">
                  <c:v>42104</c:v>
                </c:pt>
                <c:pt idx="2657">
                  <c:v>42105</c:v>
                </c:pt>
                <c:pt idx="2658">
                  <c:v>42106</c:v>
                </c:pt>
                <c:pt idx="2659">
                  <c:v>42107</c:v>
                </c:pt>
                <c:pt idx="2660">
                  <c:v>42108</c:v>
                </c:pt>
                <c:pt idx="2661">
                  <c:v>42109</c:v>
                </c:pt>
                <c:pt idx="2662">
                  <c:v>42110</c:v>
                </c:pt>
                <c:pt idx="2663">
                  <c:v>42111</c:v>
                </c:pt>
                <c:pt idx="2664">
                  <c:v>42112</c:v>
                </c:pt>
                <c:pt idx="2665">
                  <c:v>42113</c:v>
                </c:pt>
                <c:pt idx="2666">
                  <c:v>42114</c:v>
                </c:pt>
                <c:pt idx="2667">
                  <c:v>42115</c:v>
                </c:pt>
                <c:pt idx="2668">
                  <c:v>42116</c:v>
                </c:pt>
                <c:pt idx="2669">
                  <c:v>42117</c:v>
                </c:pt>
                <c:pt idx="2670">
                  <c:v>42118</c:v>
                </c:pt>
                <c:pt idx="2671">
                  <c:v>42119</c:v>
                </c:pt>
                <c:pt idx="2672">
                  <c:v>42120</c:v>
                </c:pt>
                <c:pt idx="2673">
                  <c:v>42121</c:v>
                </c:pt>
                <c:pt idx="2674">
                  <c:v>42122</c:v>
                </c:pt>
                <c:pt idx="2675">
                  <c:v>42123</c:v>
                </c:pt>
                <c:pt idx="2676">
                  <c:v>42124</c:v>
                </c:pt>
                <c:pt idx="2677">
                  <c:v>42125</c:v>
                </c:pt>
                <c:pt idx="2678">
                  <c:v>42126</c:v>
                </c:pt>
                <c:pt idx="2679">
                  <c:v>42127</c:v>
                </c:pt>
                <c:pt idx="2680">
                  <c:v>42128</c:v>
                </c:pt>
                <c:pt idx="2681">
                  <c:v>42129</c:v>
                </c:pt>
                <c:pt idx="2682">
                  <c:v>42130</c:v>
                </c:pt>
                <c:pt idx="2683">
                  <c:v>42131</c:v>
                </c:pt>
                <c:pt idx="2684">
                  <c:v>42132</c:v>
                </c:pt>
                <c:pt idx="2685">
                  <c:v>42133</c:v>
                </c:pt>
                <c:pt idx="2686">
                  <c:v>42134</c:v>
                </c:pt>
                <c:pt idx="2687">
                  <c:v>42135</c:v>
                </c:pt>
                <c:pt idx="2688">
                  <c:v>42136</c:v>
                </c:pt>
                <c:pt idx="2689">
                  <c:v>42137</c:v>
                </c:pt>
                <c:pt idx="2690">
                  <c:v>42138</c:v>
                </c:pt>
                <c:pt idx="2691">
                  <c:v>42139</c:v>
                </c:pt>
                <c:pt idx="2692">
                  <c:v>42140</c:v>
                </c:pt>
                <c:pt idx="2693">
                  <c:v>42141</c:v>
                </c:pt>
                <c:pt idx="2694">
                  <c:v>42142</c:v>
                </c:pt>
                <c:pt idx="2695">
                  <c:v>42143</c:v>
                </c:pt>
                <c:pt idx="2696">
                  <c:v>42144</c:v>
                </c:pt>
                <c:pt idx="2697">
                  <c:v>42145</c:v>
                </c:pt>
                <c:pt idx="2698">
                  <c:v>42146</c:v>
                </c:pt>
                <c:pt idx="2699">
                  <c:v>42147</c:v>
                </c:pt>
                <c:pt idx="2700">
                  <c:v>42148</c:v>
                </c:pt>
                <c:pt idx="2701">
                  <c:v>42149</c:v>
                </c:pt>
                <c:pt idx="2702">
                  <c:v>42150</c:v>
                </c:pt>
                <c:pt idx="2703">
                  <c:v>42151</c:v>
                </c:pt>
                <c:pt idx="2704">
                  <c:v>42152</c:v>
                </c:pt>
                <c:pt idx="2705">
                  <c:v>42153</c:v>
                </c:pt>
                <c:pt idx="2706">
                  <c:v>42154</c:v>
                </c:pt>
                <c:pt idx="2707">
                  <c:v>42155</c:v>
                </c:pt>
                <c:pt idx="2708">
                  <c:v>42156</c:v>
                </c:pt>
                <c:pt idx="2709">
                  <c:v>42157</c:v>
                </c:pt>
                <c:pt idx="2710">
                  <c:v>42158</c:v>
                </c:pt>
                <c:pt idx="2711">
                  <c:v>42159</c:v>
                </c:pt>
                <c:pt idx="2712">
                  <c:v>42160</c:v>
                </c:pt>
                <c:pt idx="2713">
                  <c:v>42161</c:v>
                </c:pt>
                <c:pt idx="2714">
                  <c:v>42162</c:v>
                </c:pt>
                <c:pt idx="2715">
                  <c:v>42163</c:v>
                </c:pt>
                <c:pt idx="2716">
                  <c:v>42164</c:v>
                </c:pt>
                <c:pt idx="2717">
                  <c:v>42165</c:v>
                </c:pt>
                <c:pt idx="2718">
                  <c:v>42166</c:v>
                </c:pt>
                <c:pt idx="2719">
                  <c:v>42167</c:v>
                </c:pt>
                <c:pt idx="2720">
                  <c:v>42168</c:v>
                </c:pt>
                <c:pt idx="2721">
                  <c:v>42169</c:v>
                </c:pt>
                <c:pt idx="2722">
                  <c:v>42170</c:v>
                </c:pt>
                <c:pt idx="2723">
                  <c:v>42171</c:v>
                </c:pt>
                <c:pt idx="2724">
                  <c:v>42172</c:v>
                </c:pt>
                <c:pt idx="2725">
                  <c:v>42173</c:v>
                </c:pt>
                <c:pt idx="2726">
                  <c:v>42174</c:v>
                </c:pt>
                <c:pt idx="2727">
                  <c:v>42175</c:v>
                </c:pt>
                <c:pt idx="2728">
                  <c:v>42176</c:v>
                </c:pt>
                <c:pt idx="2729">
                  <c:v>42177</c:v>
                </c:pt>
                <c:pt idx="2730">
                  <c:v>42178</c:v>
                </c:pt>
                <c:pt idx="2731">
                  <c:v>42179</c:v>
                </c:pt>
                <c:pt idx="2732">
                  <c:v>42180</c:v>
                </c:pt>
                <c:pt idx="2733">
                  <c:v>42181</c:v>
                </c:pt>
                <c:pt idx="2734">
                  <c:v>42182</c:v>
                </c:pt>
                <c:pt idx="2735">
                  <c:v>42183</c:v>
                </c:pt>
                <c:pt idx="2736">
                  <c:v>42184</c:v>
                </c:pt>
                <c:pt idx="2737">
                  <c:v>42185</c:v>
                </c:pt>
                <c:pt idx="2738">
                  <c:v>42186</c:v>
                </c:pt>
                <c:pt idx="2739">
                  <c:v>42187</c:v>
                </c:pt>
                <c:pt idx="2740">
                  <c:v>42188</c:v>
                </c:pt>
                <c:pt idx="2741">
                  <c:v>42189</c:v>
                </c:pt>
                <c:pt idx="2742">
                  <c:v>42190</c:v>
                </c:pt>
                <c:pt idx="2743">
                  <c:v>42191</c:v>
                </c:pt>
                <c:pt idx="2744">
                  <c:v>42192</c:v>
                </c:pt>
                <c:pt idx="2745">
                  <c:v>42193</c:v>
                </c:pt>
                <c:pt idx="2746">
                  <c:v>42194</c:v>
                </c:pt>
                <c:pt idx="2747">
                  <c:v>42195</c:v>
                </c:pt>
                <c:pt idx="2748">
                  <c:v>42196</c:v>
                </c:pt>
                <c:pt idx="2749">
                  <c:v>42197</c:v>
                </c:pt>
                <c:pt idx="2750">
                  <c:v>42198</c:v>
                </c:pt>
                <c:pt idx="2751">
                  <c:v>42199</c:v>
                </c:pt>
                <c:pt idx="2752">
                  <c:v>42200</c:v>
                </c:pt>
                <c:pt idx="2753">
                  <c:v>42201</c:v>
                </c:pt>
                <c:pt idx="2754">
                  <c:v>42202</c:v>
                </c:pt>
                <c:pt idx="2755">
                  <c:v>42203</c:v>
                </c:pt>
                <c:pt idx="2756">
                  <c:v>42204</c:v>
                </c:pt>
                <c:pt idx="2757">
                  <c:v>42205</c:v>
                </c:pt>
                <c:pt idx="2758">
                  <c:v>42206</c:v>
                </c:pt>
                <c:pt idx="2759">
                  <c:v>42207</c:v>
                </c:pt>
                <c:pt idx="2760">
                  <c:v>42208</c:v>
                </c:pt>
                <c:pt idx="2761">
                  <c:v>42209</c:v>
                </c:pt>
                <c:pt idx="2762">
                  <c:v>42210</c:v>
                </c:pt>
                <c:pt idx="2763">
                  <c:v>42211</c:v>
                </c:pt>
                <c:pt idx="2764">
                  <c:v>42212</c:v>
                </c:pt>
                <c:pt idx="2765">
                  <c:v>42213</c:v>
                </c:pt>
                <c:pt idx="2766">
                  <c:v>42214</c:v>
                </c:pt>
                <c:pt idx="2767">
                  <c:v>42215</c:v>
                </c:pt>
                <c:pt idx="2768">
                  <c:v>42216</c:v>
                </c:pt>
                <c:pt idx="2769">
                  <c:v>42217</c:v>
                </c:pt>
                <c:pt idx="2770">
                  <c:v>42218</c:v>
                </c:pt>
                <c:pt idx="2771">
                  <c:v>42219</c:v>
                </c:pt>
                <c:pt idx="2772">
                  <c:v>42220</c:v>
                </c:pt>
                <c:pt idx="2773">
                  <c:v>42221</c:v>
                </c:pt>
                <c:pt idx="2774">
                  <c:v>42222</c:v>
                </c:pt>
                <c:pt idx="2775">
                  <c:v>42223</c:v>
                </c:pt>
                <c:pt idx="2776">
                  <c:v>42224</c:v>
                </c:pt>
                <c:pt idx="2777">
                  <c:v>42225</c:v>
                </c:pt>
                <c:pt idx="2778">
                  <c:v>42226</c:v>
                </c:pt>
                <c:pt idx="2779">
                  <c:v>42227</c:v>
                </c:pt>
                <c:pt idx="2780">
                  <c:v>42228</c:v>
                </c:pt>
                <c:pt idx="2781">
                  <c:v>42229</c:v>
                </c:pt>
                <c:pt idx="2782">
                  <c:v>42230</c:v>
                </c:pt>
                <c:pt idx="2783">
                  <c:v>42231</c:v>
                </c:pt>
                <c:pt idx="2784">
                  <c:v>42232</c:v>
                </c:pt>
                <c:pt idx="2785">
                  <c:v>42233</c:v>
                </c:pt>
                <c:pt idx="2786">
                  <c:v>42234</c:v>
                </c:pt>
                <c:pt idx="2787">
                  <c:v>42235</c:v>
                </c:pt>
                <c:pt idx="2788">
                  <c:v>42236</c:v>
                </c:pt>
                <c:pt idx="2789">
                  <c:v>42237</c:v>
                </c:pt>
                <c:pt idx="2790">
                  <c:v>42238</c:v>
                </c:pt>
                <c:pt idx="2791">
                  <c:v>42239</c:v>
                </c:pt>
                <c:pt idx="2792">
                  <c:v>42240</c:v>
                </c:pt>
                <c:pt idx="2793">
                  <c:v>42241</c:v>
                </c:pt>
                <c:pt idx="2794">
                  <c:v>42242</c:v>
                </c:pt>
                <c:pt idx="2795">
                  <c:v>42243</c:v>
                </c:pt>
                <c:pt idx="2796">
                  <c:v>42244</c:v>
                </c:pt>
                <c:pt idx="2797">
                  <c:v>42245</c:v>
                </c:pt>
                <c:pt idx="2798">
                  <c:v>42246</c:v>
                </c:pt>
                <c:pt idx="2799">
                  <c:v>42247</c:v>
                </c:pt>
                <c:pt idx="2800">
                  <c:v>42248</c:v>
                </c:pt>
                <c:pt idx="2801">
                  <c:v>42249</c:v>
                </c:pt>
                <c:pt idx="2802">
                  <c:v>42250</c:v>
                </c:pt>
                <c:pt idx="2803">
                  <c:v>42251</c:v>
                </c:pt>
                <c:pt idx="2804">
                  <c:v>42252</c:v>
                </c:pt>
                <c:pt idx="2805">
                  <c:v>42253</c:v>
                </c:pt>
                <c:pt idx="2806">
                  <c:v>42254</c:v>
                </c:pt>
                <c:pt idx="2807">
                  <c:v>42255</c:v>
                </c:pt>
                <c:pt idx="2808">
                  <c:v>42256</c:v>
                </c:pt>
                <c:pt idx="2809">
                  <c:v>42257</c:v>
                </c:pt>
                <c:pt idx="2810">
                  <c:v>42258</c:v>
                </c:pt>
                <c:pt idx="2811">
                  <c:v>42259</c:v>
                </c:pt>
                <c:pt idx="2812">
                  <c:v>42260</c:v>
                </c:pt>
                <c:pt idx="2813">
                  <c:v>42261</c:v>
                </c:pt>
                <c:pt idx="2814">
                  <c:v>42262</c:v>
                </c:pt>
                <c:pt idx="2815">
                  <c:v>42263</c:v>
                </c:pt>
                <c:pt idx="2816">
                  <c:v>42264</c:v>
                </c:pt>
                <c:pt idx="2817">
                  <c:v>42265</c:v>
                </c:pt>
                <c:pt idx="2818">
                  <c:v>42266</c:v>
                </c:pt>
                <c:pt idx="2819">
                  <c:v>42267</c:v>
                </c:pt>
                <c:pt idx="2820">
                  <c:v>42268</c:v>
                </c:pt>
                <c:pt idx="2821">
                  <c:v>42269</c:v>
                </c:pt>
                <c:pt idx="2822">
                  <c:v>42270</c:v>
                </c:pt>
                <c:pt idx="2823">
                  <c:v>42271</c:v>
                </c:pt>
                <c:pt idx="2824">
                  <c:v>42272</c:v>
                </c:pt>
                <c:pt idx="2825">
                  <c:v>42273</c:v>
                </c:pt>
                <c:pt idx="2826">
                  <c:v>42274</c:v>
                </c:pt>
                <c:pt idx="2827">
                  <c:v>42275</c:v>
                </c:pt>
                <c:pt idx="2828">
                  <c:v>42276</c:v>
                </c:pt>
                <c:pt idx="2829">
                  <c:v>42277</c:v>
                </c:pt>
                <c:pt idx="2830">
                  <c:v>42278</c:v>
                </c:pt>
                <c:pt idx="2831">
                  <c:v>42279</c:v>
                </c:pt>
                <c:pt idx="2832">
                  <c:v>42280</c:v>
                </c:pt>
                <c:pt idx="2833">
                  <c:v>42281</c:v>
                </c:pt>
                <c:pt idx="2834">
                  <c:v>42282</c:v>
                </c:pt>
                <c:pt idx="2835">
                  <c:v>42283</c:v>
                </c:pt>
                <c:pt idx="2836">
                  <c:v>42284</c:v>
                </c:pt>
                <c:pt idx="2837">
                  <c:v>42285</c:v>
                </c:pt>
                <c:pt idx="2838">
                  <c:v>42286</c:v>
                </c:pt>
                <c:pt idx="2839">
                  <c:v>42287</c:v>
                </c:pt>
                <c:pt idx="2840">
                  <c:v>42288</c:v>
                </c:pt>
                <c:pt idx="2841">
                  <c:v>42289</c:v>
                </c:pt>
                <c:pt idx="2842">
                  <c:v>42290</c:v>
                </c:pt>
                <c:pt idx="2843">
                  <c:v>42291</c:v>
                </c:pt>
                <c:pt idx="2844">
                  <c:v>42292</c:v>
                </c:pt>
                <c:pt idx="2845">
                  <c:v>42293</c:v>
                </c:pt>
                <c:pt idx="2846">
                  <c:v>42294</c:v>
                </c:pt>
                <c:pt idx="2847">
                  <c:v>42295</c:v>
                </c:pt>
                <c:pt idx="2848">
                  <c:v>42296</c:v>
                </c:pt>
                <c:pt idx="2849">
                  <c:v>42297</c:v>
                </c:pt>
                <c:pt idx="2850">
                  <c:v>42298</c:v>
                </c:pt>
                <c:pt idx="2851">
                  <c:v>42299</c:v>
                </c:pt>
                <c:pt idx="2852">
                  <c:v>42300</c:v>
                </c:pt>
                <c:pt idx="2853">
                  <c:v>42301</c:v>
                </c:pt>
                <c:pt idx="2854">
                  <c:v>42302</c:v>
                </c:pt>
                <c:pt idx="2855">
                  <c:v>42303</c:v>
                </c:pt>
                <c:pt idx="2856">
                  <c:v>42304</c:v>
                </c:pt>
                <c:pt idx="2857">
                  <c:v>42305</c:v>
                </c:pt>
                <c:pt idx="2858">
                  <c:v>42306</c:v>
                </c:pt>
                <c:pt idx="2859">
                  <c:v>42307</c:v>
                </c:pt>
                <c:pt idx="2860">
                  <c:v>42308</c:v>
                </c:pt>
                <c:pt idx="2861">
                  <c:v>42309</c:v>
                </c:pt>
                <c:pt idx="2862">
                  <c:v>42310</c:v>
                </c:pt>
                <c:pt idx="2863">
                  <c:v>42311</c:v>
                </c:pt>
                <c:pt idx="2864">
                  <c:v>42312</c:v>
                </c:pt>
                <c:pt idx="2865">
                  <c:v>42313</c:v>
                </c:pt>
                <c:pt idx="2866">
                  <c:v>42314</c:v>
                </c:pt>
                <c:pt idx="2867">
                  <c:v>42315</c:v>
                </c:pt>
                <c:pt idx="2868">
                  <c:v>42316</c:v>
                </c:pt>
                <c:pt idx="2869">
                  <c:v>42317</c:v>
                </c:pt>
                <c:pt idx="2870">
                  <c:v>42318</c:v>
                </c:pt>
                <c:pt idx="2871">
                  <c:v>42319</c:v>
                </c:pt>
                <c:pt idx="2872">
                  <c:v>42320</c:v>
                </c:pt>
                <c:pt idx="2873">
                  <c:v>42321</c:v>
                </c:pt>
                <c:pt idx="2874">
                  <c:v>42322</c:v>
                </c:pt>
                <c:pt idx="2875">
                  <c:v>42323</c:v>
                </c:pt>
                <c:pt idx="2876">
                  <c:v>42324</c:v>
                </c:pt>
                <c:pt idx="2877">
                  <c:v>42325</c:v>
                </c:pt>
                <c:pt idx="2878">
                  <c:v>42326</c:v>
                </c:pt>
                <c:pt idx="2879">
                  <c:v>42327</c:v>
                </c:pt>
                <c:pt idx="2880">
                  <c:v>42328</c:v>
                </c:pt>
                <c:pt idx="2881">
                  <c:v>42329</c:v>
                </c:pt>
                <c:pt idx="2882">
                  <c:v>42330</c:v>
                </c:pt>
                <c:pt idx="2883">
                  <c:v>42331</c:v>
                </c:pt>
                <c:pt idx="2884">
                  <c:v>42332</c:v>
                </c:pt>
                <c:pt idx="2885">
                  <c:v>42333</c:v>
                </c:pt>
                <c:pt idx="2886">
                  <c:v>42334</c:v>
                </c:pt>
                <c:pt idx="2887">
                  <c:v>42335</c:v>
                </c:pt>
                <c:pt idx="2888">
                  <c:v>42336</c:v>
                </c:pt>
                <c:pt idx="2889">
                  <c:v>42337</c:v>
                </c:pt>
                <c:pt idx="2890">
                  <c:v>42338</c:v>
                </c:pt>
                <c:pt idx="2891">
                  <c:v>42339</c:v>
                </c:pt>
                <c:pt idx="2892">
                  <c:v>42340</c:v>
                </c:pt>
                <c:pt idx="2893">
                  <c:v>42341</c:v>
                </c:pt>
                <c:pt idx="2894">
                  <c:v>42342</c:v>
                </c:pt>
                <c:pt idx="2895">
                  <c:v>42343</c:v>
                </c:pt>
                <c:pt idx="2896">
                  <c:v>42344</c:v>
                </c:pt>
                <c:pt idx="2897">
                  <c:v>42345</c:v>
                </c:pt>
                <c:pt idx="2898">
                  <c:v>42346</c:v>
                </c:pt>
                <c:pt idx="2899">
                  <c:v>42347</c:v>
                </c:pt>
                <c:pt idx="2900">
                  <c:v>42348</c:v>
                </c:pt>
                <c:pt idx="2901">
                  <c:v>42349</c:v>
                </c:pt>
                <c:pt idx="2902">
                  <c:v>42350</c:v>
                </c:pt>
                <c:pt idx="2903">
                  <c:v>42351</c:v>
                </c:pt>
                <c:pt idx="2904">
                  <c:v>42352</c:v>
                </c:pt>
                <c:pt idx="2905">
                  <c:v>42353</c:v>
                </c:pt>
                <c:pt idx="2906">
                  <c:v>42354</c:v>
                </c:pt>
                <c:pt idx="2907">
                  <c:v>42355</c:v>
                </c:pt>
                <c:pt idx="2908">
                  <c:v>42356</c:v>
                </c:pt>
                <c:pt idx="2909">
                  <c:v>42357</c:v>
                </c:pt>
                <c:pt idx="2910">
                  <c:v>42358</c:v>
                </c:pt>
                <c:pt idx="2911">
                  <c:v>42359</c:v>
                </c:pt>
                <c:pt idx="2912">
                  <c:v>42360</c:v>
                </c:pt>
                <c:pt idx="2913">
                  <c:v>42361</c:v>
                </c:pt>
                <c:pt idx="2914">
                  <c:v>42362</c:v>
                </c:pt>
                <c:pt idx="2915">
                  <c:v>42363</c:v>
                </c:pt>
                <c:pt idx="2916">
                  <c:v>42364</c:v>
                </c:pt>
                <c:pt idx="2917">
                  <c:v>42365</c:v>
                </c:pt>
                <c:pt idx="2918">
                  <c:v>42366</c:v>
                </c:pt>
                <c:pt idx="2919">
                  <c:v>42367</c:v>
                </c:pt>
                <c:pt idx="2920">
                  <c:v>42368</c:v>
                </c:pt>
                <c:pt idx="2921">
                  <c:v>42369</c:v>
                </c:pt>
                <c:pt idx="2922">
                  <c:v>42370</c:v>
                </c:pt>
                <c:pt idx="2923">
                  <c:v>42371</c:v>
                </c:pt>
                <c:pt idx="2924">
                  <c:v>42372</c:v>
                </c:pt>
                <c:pt idx="2925">
                  <c:v>42373</c:v>
                </c:pt>
                <c:pt idx="2926">
                  <c:v>42374</c:v>
                </c:pt>
                <c:pt idx="2927">
                  <c:v>42375</c:v>
                </c:pt>
                <c:pt idx="2928">
                  <c:v>42376</c:v>
                </c:pt>
                <c:pt idx="2929">
                  <c:v>42377</c:v>
                </c:pt>
                <c:pt idx="2930">
                  <c:v>42378</c:v>
                </c:pt>
                <c:pt idx="2931">
                  <c:v>42379</c:v>
                </c:pt>
                <c:pt idx="2932">
                  <c:v>42380</c:v>
                </c:pt>
                <c:pt idx="2933">
                  <c:v>42381</c:v>
                </c:pt>
                <c:pt idx="2934">
                  <c:v>42382</c:v>
                </c:pt>
                <c:pt idx="2935">
                  <c:v>42383</c:v>
                </c:pt>
                <c:pt idx="2936">
                  <c:v>42384</c:v>
                </c:pt>
                <c:pt idx="2937">
                  <c:v>42385</c:v>
                </c:pt>
                <c:pt idx="2938">
                  <c:v>42386</c:v>
                </c:pt>
                <c:pt idx="2939">
                  <c:v>42387</c:v>
                </c:pt>
                <c:pt idx="2940">
                  <c:v>42388</c:v>
                </c:pt>
                <c:pt idx="2941">
                  <c:v>42389</c:v>
                </c:pt>
                <c:pt idx="2942">
                  <c:v>42390</c:v>
                </c:pt>
                <c:pt idx="2943">
                  <c:v>42391</c:v>
                </c:pt>
                <c:pt idx="2944">
                  <c:v>42392</c:v>
                </c:pt>
                <c:pt idx="2945">
                  <c:v>42393</c:v>
                </c:pt>
                <c:pt idx="2946">
                  <c:v>42394</c:v>
                </c:pt>
                <c:pt idx="2947">
                  <c:v>42395</c:v>
                </c:pt>
                <c:pt idx="2948">
                  <c:v>42396</c:v>
                </c:pt>
                <c:pt idx="2949">
                  <c:v>42397</c:v>
                </c:pt>
                <c:pt idx="2950">
                  <c:v>42398</c:v>
                </c:pt>
                <c:pt idx="2951">
                  <c:v>42399</c:v>
                </c:pt>
                <c:pt idx="2952">
                  <c:v>42400</c:v>
                </c:pt>
                <c:pt idx="2953">
                  <c:v>42401</c:v>
                </c:pt>
                <c:pt idx="2954">
                  <c:v>42402</c:v>
                </c:pt>
                <c:pt idx="2955">
                  <c:v>42403</c:v>
                </c:pt>
              </c:numCache>
            </c:numRef>
          </c:cat>
          <c:val>
            <c:numRef>
              <c:f>Daily!$B$2:$DIS$2</c:f>
              <c:numCache>
                <c:formatCode>General</c:formatCode>
                <c:ptCount val="2956"/>
                <c:pt idx="0">
                  <c:v>45.79</c:v>
                </c:pt>
                <c:pt idx="1">
                  <c:v>50.63</c:v>
                </c:pt>
                <c:pt idx="2">
                  <c:v>50.22</c:v>
                </c:pt>
                <c:pt idx="3">
                  <c:v>47.86</c:v>
                </c:pt>
                <c:pt idx="4">
                  <c:v>47.09</c:v>
                </c:pt>
                <c:pt idx="5">
                  <c:v>47.75</c:v>
                </c:pt>
                <c:pt idx="6">
                  <c:v>55.752000000000002</c:v>
                </c:pt>
                <c:pt idx="7">
                  <c:v>49.319099999999999</c:v>
                </c:pt>
                <c:pt idx="8">
                  <c:v>47.534500000000001</c:v>
                </c:pt>
                <c:pt idx="9">
                  <c:v>47.597499999999997</c:v>
                </c:pt>
                <c:pt idx="10">
                  <c:v>47.618299999999998</c:v>
                </c:pt>
                <c:pt idx="11">
                  <c:v>46.822899999999997</c:v>
                </c:pt>
                <c:pt idx="12">
                  <c:v>46.731200000000001</c:v>
                </c:pt>
                <c:pt idx="13">
                  <c:v>47.601999999999997</c:v>
                </c:pt>
                <c:pt idx="14">
                  <c:v>46.148299999999999</c:v>
                </c:pt>
                <c:pt idx="15">
                  <c:v>46.071599999999997</c:v>
                </c:pt>
                <c:pt idx="16">
                  <c:v>46.664099999999998</c:v>
                </c:pt>
                <c:pt idx="17">
                  <c:v>45.172499999999999</c:v>
                </c:pt>
                <c:pt idx="18">
                  <c:v>42.679099999999998</c:v>
                </c:pt>
                <c:pt idx="19">
                  <c:v>42.902500000000003</c:v>
                </c:pt>
                <c:pt idx="20">
                  <c:v>46.000799999999998</c:v>
                </c:pt>
                <c:pt idx="21">
                  <c:v>47.005800000000001</c:v>
                </c:pt>
                <c:pt idx="22">
                  <c:v>46.872500000000002</c:v>
                </c:pt>
                <c:pt idx="23">
                  <c:v>43.096200000000003</c:v>
                </c:pt>
                <c:pt idx="24">
                  <c:v>41.705800000000004</c:v>
                </c:pt>
                <c:pt idx="25">
                  <c:v>40.243699999999997</c:v>
                </c:pt>
                <c:pt idx="26">
                  <c:v>40.551200000000001</c:v>
                </c:pt>
                <c:pt idx="27">
                  <c:v>43.628300000000003</c:v>
                </c:pt>
                <c:pt idx="28">
                  <c:v>41.671599999999998</c:v>
                </c:pt>
                <c:pt idx="29">
                  <c:v>41.643700000000003</c:v>
                </c:pt>
                <c:pt idx="30">
                  <c:v>40.680399999999999</c:v>
                </c:pt>
                <c:pt idx="31">
                  <c:v>39.311999999999998</c:v>
                </c:pt>
                <c:pt idx="32">
                  <c:v>39.582000000000001</c:v>
                </c:pt>
                <c:pt idx="33">
                  <c:v>39.738700000000001</c:v>
                </c:pt>
                <c:pt idx="34">
                  <c:v>42.041200000000003</c:v>
                </c:pt>
                <c:pt idx="35">
                  <c:v>40.780799999999999</c:v>
                </c:pt>
                <c:pt idx="36">
                  <c:v>39.802500000000002</c:v>
                </c:pt>
                <c:pt idx="37">
                  <c:v>39.596200000000003</c:v>
                </c:pt>
                <c:pt idx="38">
                  <c:v>40.322499999999998</c:v>
                </c:pt>
                <c:pt idx="39">
                  <c:v>38.582900000000002</c:v>
                </c:pt>
                <c:pt idx="40">
                  <c:v>38.262</c:v>
                </c:pt>
                <c:pt idx="41">
                  <c:v>41.6708</c:v>
                </c:pt>
                <c:pt idx="42">
                  <c:v>41.893700000000003</c:v>
                </c:pt>
                <c:pt idx="43">
                  <c:v>42.015799999999999</c:v>
                </c:pt>
                <c:pt idx="44">
                  <c:v>44.352499999999999</c:v>
                </c:pt>
                <c:pt idx="45">
                  <c:v>47.881999999999998</c:v>
                </c:pt>
                <c:pt idx="46">
                  <c:v>41.244100000000003</c:v>
                </c:pt>
                <c:pt idx="47">
                  <c:v>38.620399999999997</c:v>
                </c:pt>
                <c:pt idx="48">
                  <c:v>40.797899999999998</c:v>
                </c:pt>
                <c:pt idx="49">
                  <c:v>42.798699999999997</c:v>
                </c:pt>
                <c:pt idx="50">
                  <c:v>41.229100000000003</c:v>
                </c:pt>
                <c:pt idx="51">
                  <c:v>37.7179</c:v>
                </c:pt>
                <c:pt idx="52">
                  <c:v>34.466999999999999</c:v>
                </c:pt>
                <c:pt idx="53">
                  <c:v>32.578699999999998</c:v>
                </c:pt>
                <c:pt idx="54">
                  <c:v>31.262</c:v>
                </c:pt>
                <c:pt idx="55">
                  <c:v>35.158299999999997</c:v>
                </c:pt>
                <c:pt idx="56">
                  <c:v>32.302900000000001</c:v>
                </c:pt>
                <c:pt idx="57">
                  <c:v>29.7683</c:v>
                </c:pt>
                <c:pt idx="58">
                  <c:v>31.9329</c:v>
                </c:pt>
                <c:pt idx="59">
                  <c:v>31.9741</c:v>
                </c:pt>
                <c:pt idx="60">
                  <c:v>28.6387</c:v>
                </c:pt>
                <c:pt idx="61">
                  <c:v>27.753299999999999</c:v>
                </c:pt>
                <c:pt idx="62">
                  <c:v>33.361600000000003</c:v>
                </c:pt>
                <c:pt idx="63">
                  <c:v>34.814500000000002</c:v>
                </c:pt>
                <c:pt idx="64">
                  <c:v>34.972900000000003</c:v>
                </c:pt>
                <c:pt idx="65">
                  <c:v>31.427</c:v>
                </c:pt>
                <c:pt idx="66">
                  <c:v>34.105800000000002</c:v>
                </c:pt>
                <c:pt idx="67">
                  <c:v>27.621600000000001</c:v>
                </c:pt>
                <c:pt idx="68">
                  <c:v>26.75</c:v>
                </c:pt>
                <c:pt idx="69">
                  <c:v>28.6875</c:v>
                </c:pt>
                <c:pt idx="70">
                  <c:v>28.7883</c:v>
                </c:pt>
                <c:pt idx="71">
                  <c:v>27.521599999999999</c:v>
                </c:pt>
                <c:pt idx="72">
                  <c:v>26.317</c:v>
                </c:pt>
                <c:pt idx="73">
                  <c:v>28.614100000000001</c:v>
                </c:pt>
                <c:pt idx="74">
                  <c:v>25.7837</c:v>
                </c:pt>
                <c:pt idx="75">
                  <c:v>24.73</c:v>
                </c:pt>
                <c:pt idx="76">
                  <c:v>26.1083</c:v>
                </c:pt>
                <c:pt idx="77">
                  <c:v>27.604500000000002</c:v>
                </c:pt>
                <c:pt idx="78">
                  <c:v>28.0991</c:v>
                </c:pt>
                <c:pt idx="79">
                  <c:v>27.5045</c:v>
                </c:pt>
                <c:pt idx="80">
                  <c:v>26.561599999999999</c:v>
                </c:pt>
                <c:pt idx="81">
                  <c:v>26.604500000000002</c:v>
                </c:pt>
                <c:pt idx="82">
                  <c:v>27.445399999999999</c:v>
                </c:pt>
                <c:pt idx="83">
                  <c:v>27.922499999999999</c:v>
                </c:pt>
                <c:pt idx="84">
                  <c:v>34.219099999999997</c:v>
                </c:pt>
                <c:pt idx="85">
                  <c:v>35.077500000000001</c:v>
                </c:pt>
                <c:pt idx="86">
                  <c:v>40.935400000000001</c:v>
                </c:pt>
                <c:pt idx="87">
                  <c:v>33.854999999999997</c:v>
                </c:pt>
                <c:pt idx="88">
                  <c:v>26.844999999999999</c:v>
                </c:pt>
                <c:pt idx="89">
                  <c:v>25.903400000000001</c:v>
                </c:pt>
                <c:pt idx="90">
                  <c:v>32.950400000000002</c:v>
                </c:pt>
                <c:pt idx="91">
                  <c:v>32.830800000000004</c:v>
                </c:pt>
                <c:pt idx="92">
                  <c:v>32.612499999999997</c:v>
                </c:pt>
                <c:pt idx="93">
                  <c:v>34.027000000000001</c:v>
                </c:pt>
                <c:pt idx="94">
                  <c:v>33.652000000000001</c:v>
                </c:pt>
                <c:pt idx="95">
                  <c:v>30.872499999999999</c:v>
                </c:pt>
                <c:pt idx="96">
                  <c:v>29.6325</c:v>
                </c:pt>
                <c:pt idx="97">
                  <c:v>37.814100000000003</c:v>
                </c:pt>
                <c:pt idx="98">
                  <c:v>39.6462</c:v>
                </c:pt>
                <c:pt idx="99">
                  <c:v>43.517899999999997</c:v>
                </c:pt>
                <c:pt idx="100">
                  <c:v>45.516599999999997</c:v>
                </c:pt>
                <c:pt idx="101">
                  <c:v>41.686999999999998</c:v>
                </c:pt>
                <c:pt idx="102">
                  <c:v>37.447499999999998</c:v>
                </c:pt>
                <c:pt idx="103">
                  <c:v>34.320399999999999</c:v>
                </c:pt>
                <c:pt idx="104">
                  <c:v>49.337000000000003</c:v>
                </c:pt>
                <c:pt idx="105">
                  <c:v>44.78</c:v>
                </c:pt>
                <c:pt idx="106">
                  <c:v>47.082900000000002</c:v>
                </c:pt>
                <c:pt idx="107">
                  <c:v>45.822899999999997</c:v>
                </c:pt>
                <c:pt idx="108">
                  <c:v>44.41</c:v>
                </c:pt>
                <c:pt idx="109">
                  <c:v>39.924100000000003</c:v>
                </c:pt>
                <c:pt idx="110">
                  <c:v>37.972900000000003</c:v>
                </c:pt>
                <c:pt idx="111">
                  <c:v>45.715000000000003</c:v>
                </c:pt>
                <c:pt idx="112">
                  <c:v>40.165799999999997</c:v>
                </c:pt>
                <c:pt idx="113">
                  <c:v>40.814999999999998</c:v>
                </c:pt>
                <c:pt idx="114">
                  <c:v>40.190800000000003</c:v>
                </c:pt>
                <c:pt idx="115">
                  <c:v>37.731200000000001</c:v>
                </c:pt>
                <c:pt idx="116">
                  <c:v>29.664999999999999</c:v>
                </c:pt>
                <c:pt idx="117">
                  <c:v>26.247499999999999</c:v>
                </c:pt>
                <c:pt idx="118">
                  <c:v>30.736599999999999</c:v>
                </c:pt>
                <c:pt idx="119">
                  <c:v>32.528700000000001</c:v>
                </c:pt>
                <c:pt idx="120">
                  <c:v>29.104500000000002</c:v>
                </c:pt>
                <c:pt idx="121">
                  <c:v>14.6183</c:v>
                </c:pt>
                <c:pt idx="122">
                  <c:v>22.7379</c:v>
                </c:pt>
                <c:pt idx="123">
                  <c:v>15.7704</c:v>
                </c:pt>
                <c:pt idx="124">
                  <c:v>12.256600000000001</c:v>
                </c:pt>
                <c:pt idx="125">
                  <c:v>27.052900000000001</c:v>
                </c:pt>
                <c:pt idx="126">
                  <c:v>27.282499999999999</c:v>
                </c:pt>
                <c:pt idx="127">
                  <c:v>26.795000000000002</c:v>
                </c:pt>
                <c:pt idx="128">
                  <c:v>21.187899999999999</c:v>
                </c:pt>
                <c:pt idx="129">
                  <c:v>22.2362</c:v>
                </c:pt>
                <c:pt idx="130">
                  <c:v>11.952500000000001</c:v>
                </c:pt>
                <c:pt idx="131">
                  <c:v>9.9894999999999996</c:v>
                </c:pt>
                <c:pt idx="132">
                  <c:v>17.064499999999999</c:v>
                </c:pt>
                <c:pt idx="133">
                  <c:v>21.025400000000001</c:v>
                </c:pt>
                <c:pt idx="134">
                  <c:v>26.444500000000001</c:v>
                </c:pt>
                <c:pt idx="135">
                  <c:v>27.697900000000001</c:v>
                </c:pt>
                <c:pt idx="136">
                  <c:v>23.845800000000001</c:v>
                </c:pt>
                <c:pt idx="137">
                  <c:v>20.817499999999999</c:v>
                </c:pt>
                <c:pt idx="138">
                  <c:v>20.7866</c:v>
                </c:pt>
                <c:pt idx="139">
                  <c:v>32.540799999999997</c:v>
                </c:pt>
                <c:pt idx="140">
                  <c:v>35.6295</c:v>
                </c:pt>
                <c:pt idx="141">
                  <c:v>38.785400000000003</c:v>
                </c:pt>
                <c:pt idx="142">
                  <c:v>35.7545</c:v>
                </c:pt>
                <c:pt idx="143">
                  <c:v>37.6462</c:v>
                </c:pt>
                <c:pt idx="144">
                  <c:v>25.2987</c:v>
                </c:pt>
                <c:pt idx="145">
                  <c:v>18.344999999999999</c:v>
                </c:pt>
                <c:pt idx="146">
                  <c:v>35.237900000000003</c:v>
                </c:pt>
                <c:pt idx="147">
                  <c:v>39.128700000000002</c:v>
                </c:pt>
                <c:pt idx="148">
                  <c:v>34.32</c:v>
                </c:pt>
                <c:pt idx="149">
                  <c:v>40.253700000000002</c:v>
                </c:pt>
                <c:pt idx="150">
                  <c:v>33.707000000000001</c:v>
                </c:pt>
                <c:pt idx="151">
                  <c:v>23.556999999999999</c:v>
                </c:pt>
                <c:pt idx="152">
                  <c:v>19.815000000000001</c:v>
                </c:pt>
                <c:pt idx="153">
                  <c:v>45.737900000000003</c:v>
                </c:pt>
                <c:pt idx="154">
                  <c:v>45.212000000000003</c:v>
                </c:pt>
                <c:pt idx="155">
                  <c:v>41.680799999999998</c:v>
                </c:pt>
                <c:pt idx="156">
                  <c:v>40.081200000000003</c:v>
                </c:pt>
                <c:pt idx="157">
                  <c:v>34.11</c:v>
                </c:pt>
                <c:pt idx="158">
                  <c:v>40.2883</c:v>
                </c:pt>
                <c:pt idx="159">
                  <c:v>32.331200000000003</c:v>
                </c:pt>
                <c:pt idx="160">
                  <c:v>41.458300000000001</c:v>
                </c:pt>
                <c:pt idx="161">
                  <c:v>36.644100000000002</c:v>
                </c:pt>
                <c:pt idx="162">
                  <c:v>38.167000000000002</c:v>
                </c:pt>
                <c:pt idx="163">
                  <c:v>41.840800000000002</c:v>
                </c:pt>
                <c:pt idx="164">
                  <c:v>39.591999999999999</c:v>
                </c:pt>
                <c:pt idx="165">
                  <c:v>30.293700000000001</c:v>
                </c:pt>
                <c:pt idx="166">
                  <c:v>34.854500000000002</c:v>
                </c:pt>
                <c:pt idx="167">
                  <c:v>52.694099999999999</c:v>
                </c:pt>
                <c:pt idx="168">
                  <c:v>51.960799999999999</c:v>
                </c:pt>
                <c:pt idx="169">
                  <c:v>49.866999999999997</c:v>
                </c:pt>
                <c:pt idx="170">
                  <c:v>46.876600000000003</c:v>
                </c:pt>
                <c:pt idx="171">
                  <c:v>39.691600000000001</c:v>
                </c:pt>
                <c:pt idx="172">
                  <c:v>37.529499999999999</c:v>
                </c:pt>
                <c:pt idx="173">
                  <c:v>35.718699999999998</c:v>
                </c:pt>
                <c:pt idx="174">
                  <c:v>39.223700000000001</c:v>
                </c:pt>
                <c:pt idx="175">
                  <c:v>45.995800000000003</c:v>
                </c:pt>
                <c:pt idx="176">
                  <c:v>46.966200000000001</c:v>
                </c:pt>
                <c:pt idx="177">
                  <c:v>44.76</c:v>
                </c:pt>
                <c:pt idx="178">
                  <c:v>41.501199999999997</c:v>
                </c:pt>
                <c:pt idx="179">
                  <c:v>39.254100000000001</c:v>
                </c:pt>
                <c:pt idx="180">
                  <c:v>35.695</c:v>
                </c:pt>
                <c:pt idx="181">
                  <c:v>43.853700000000003</c:v>
                </c:pt>
                <c:pt idx="182">
                  <c:v>47.429099999999998</c:v>
                </c:pt>
                <c:pt idx="183">
                  <c:v>48.680799999999998</c:v>
                </c:pt>
                <c:pt idx="184">
                  <c:v>45.571599999999997</c:v>
                </c:pt>
                <c:pt idx="185">
                  <c:v>46.415399999999998</c:v>
                </c:pt>
                <c:pt idx="186">
                  <c:v>43.6691</c:v>
                </c:pt>
                <c:pt idx="187">
                  <c:v>39.142499999999998</c:v>
                </c:pt>
                <c:pt idx="188">
                  <c:v>47.981999999999999</c:v>
                </c:pt>
                <c:pt idx="189">
                  <c:v>48.691200000000002</c:v>
                </c:pt>
                <c:pt idx="190">
                  <c:v>46.742899999999999</c:v>
                </c:pt>
                <c:pt idx="191">
                  <c:v>44.746200000000002</c:v>
                </c:pt>
                <c:pt idx="192">
                  <c:v>41.826599999999999</c:v>
                </c:pt>
                <c:pt idx="193">
                  <c:v>39.505000000000003</c:v>
                </c:pt>
                <c:pt idx="194">
                  <c:v>38.554499999999997</c:v>
                </c:pt>
                <c:pt idx="195">
                  <c:v>42.911200000000001</c:v>
                </c:pt>
                <c:pt idx="196">
                  <c:v>44.509099999999997</c:v>
                </c:pt>
                <c:pt idx="197">
                  <c:v>43.308300000000003</c:v>
                </c:pt>
                <c:pt idx="198">
                  <c:v>45.236600000000003</c:v>
                </c:pt>
                <c:pt idx="199">
                  <c:v>45.346600000000002</c:v>
                </c:pt>
                <c:pt idx="200">
                  <c:v>41.726999999999997</c:v>
                </c:pt>
                <c:pt idx="201">
                  <c:v>29.839099999999998</c:v>
                </c:pt>
                <c:pt idx="202">
                  <c:v>39.278300000000002</c:v>
                </c:pt>
                <c:pt idx="203">
                  <c:v>47.436999999999998</c:v>
                </c:pt>
                <c:pt idx="204">
                  <c:v>44.985799999999998</c:v>
                </c:pt>
                <c:pt idx="205">
                  <c:v>46.060400000000001</c:v>
                </c:pt>
                <c:pt idx="206">
                  <c:v>47.6295</c:v>
                </c:pt>
                <c:pt idx="207">
                  <c:v>45.067500000000003</c:v>
                </c:pt>
                <c:pt idx="208">
                  <c:v>41.000399999999999</c:v>
                </c:pt>
                <c:pt idx="209">
                  <c:v>49.819499999999998</c:v>
                </c:pt>
                <c:pt idx="210">
                  <c:v>48.714500000000001</c:v>
                </c:pt>
                <c:pt idx="211">
                  <c:v>46.933700000000002</c:v>
                </c:pt>
                <c:pt idx="212">
                  <c:v>48.69</c:v>
                </c:pt>
                <c:pt idx="213">
                  <c:v>48.311599999999999</c:v>
                </c:pt>
                <c:pt idx="214">
                  <c:v>44.78</c:v>
                </c:pt>
                <c:pt idx="215">
                  <c:v>39.717500000000001</c:v>
                </c:pt>
                <c:pt idx="216">
                  <c:v>49.319099999999999</c:v>
                </c:pt>
                <c:pt idx="217">
                  <c:v>45.314100000000003</c:v>
                </c:pt>
                <c:pt idx="218">
                  <c:v>50.963299999999997</c:v>
                </c:pt>
                <c:pt idx="219">
                  <c:v>51.196199999999997</c:v>
                </c:pt>
                <c:pt idx="220">
                  <c:v>48.251600000000003</c:v>
                </c:pt>
                <c:pt idx="221">
                  <c:v>46.579099999999997</c:v>
                </c:pt>
                <c:pt idx="222">
                  <c:v>43.769500000000001</c:v>
                </c:pt>
                <c:pt idx="223">
                  <c:v>52.035800000000002</c:v>
                </c:pt>
                <c:pt idx="224">
                  <c:v>55.177500000000002</c:v>
                </c:pt>
                <c:pt idx="225">
                  <c:v>51.405799999999999</c:v>
                </c:pt>
                <c:pt idx="226">
                  <c:v>51.5045</c:v>
                </c:pt>
                <c:pt idx="227">
                  <c:v>52.604999999999997</c:v>
                </c:pt>
                <c:pt idx="228">
                  <c:v>47.392899999999997</c:v>
                </c:pt>
                <c:pt idx="229">
                  <c:v>43.607500000000002</c:v>
                </c:pt>
                <c:pt idx="230">
                  <c:v>57.196599999999997</c:v>
                </c:pt>
                <c:pt idx="231">
                  <c:v>57.347900000000003</c:v>
                </c:pt>
                <c:pt idx="232">
                  <c:v>56.927</c:v>
                </c:pt>
                <c:pt idx="233">
                  <c:v>60.995800000000003</c:v>
                </c:pt>
                <c:pt idx="234">
                  <c:v>61.275799999999997</c:v>
                </c:pt>
                <c:pt idx="235">
                  <c:v>59.542900000000003</c:v>
                </c:pt>
                <c:pt idx="236">
                  <c:v>56.652900000000002</c:v>
                </c:pt>
                <c:pt idx="237">
                  <c:v>63.797499999999999</c:v>
                </c:pt>
                <c:pt idx="238">
                  <c:v>65.098299999999995</c:v>
                </c:pt>
                <c:pt idx="239">
                  <c:v>66.321200000000005</c:v>
                </c:pt>
                <c:pt idx="240">
                  <c:v>66.619500000000002</c:v>
                </c:pt>
                <c:pt idx="241">
                  <c:v>68.956999999999994</c:v>
                </c:pt>
                <c:pt idx="242">
                  <c:v>66.389499999999998</c:v>
                </c:pt>
                <c:pt idx="243">
                  <c:v>64.048299999999998</c:v>
                </c:pt>
                <c:pt idx="244">
                  <c:v>69.563699999999997</c:v>
                </c:pt>
                <c:pt idx="245">
                  <c:v>68.619100000000003</c:v>
                </c:pt>
                <c:pt idx="246">
                  <c:v>67.343699999999998</c:v>
                </c:pt>
                <c:pt idx="247">
                  <c:v>67.987899999999996</c:v>
                </c:pt>
                <c:pt idx="248">
                  <c:v>67.540400000000005</c:v>
                </c:pt>
                <c:pt idx="249">
                  <c:v>65.065799999999996</c:v>
                </c:pt>
                <c:pt idx="250">
                  <c:v>62.305</c:v>
                </c:pt>
                <c:pt idx="251">
                  <c:v>67.051599999999993</c:v>
                </c:pt>
                <c:pt idx="252">
                  <c:v>67.954499999999996</c:v>
                </c:pt>
                <c:pt idx="253">
                  <c:v>67.59</c:v>
                </c:pt>
                <c:pt idx="254">
                  <c:v>66.854500000000002</c:v>
                </c:pt>
                <c:pt idx="255">
                  <c:v>64.802499999999995</c:v>
                </c:pt>
                <c:pt idx="256">
                  <c:v>64.179100000000005</c:v>
                </c:pt>
                <c:pt idx="257">
                  <c:v>63.282499999999999</c:v>
                </c:pt>
                <c:pt idx="258">
                  <c:v>68.868300000000005</c:v>
                </c:pt>
                <c:pt idx="259">
                  <c:v>68.191999999999993</c:v>
                </c:pt>
                <c:pt idx="260">
                  <c:v>66.936999999999998</c:v>
                </c:pt>
                <c:pt idx="261">
                  <c:v>67.487899999999996</c:v>
                </c:pt>
                <c:pt idx="262">
                  <c:v>67.42</c:v>
                </c:pt>
                <c:pt idx="263">
                  <c:v>67.251599999999996</c:v>
                </c:pt>
                <c:pt idx="264">
                  <c:v>65.745400000000004</c:v>
                </c:pt>
                <c:pt idx="265">
                  <c:v>70.894999999999996</c:v>
                </c:pt>
                <c:pt idx="266">
                  <c:v>70.832499999999996</c:v>
                </c:pt>
                <c:pt idx="267">
                  <c:v>71.799499999999995</c:v>
                </c:pt>
                <c:pt idx="268">
                  <c:v>70.849999999999994</c:v>
                </c:pt>
                <c:pt idx="269">
                  <c:v>69.534499999999994</c:v>
                </c:pt>
                <c:pt idx="270">
                  <c:v>66.330799999999996</c:v>
                </c:pt>
                <c:pt idx="271">
                  <c:v>64.721199999999996</c:v>
                </c:pt>
                <c:pt idx="272">
                  <c:v>69.454099999999997</c:v>
                </c:pt>
                <c:pt idx="273">
                  <c:v>67.561199999999999</c:v>
                </c:pt>
                <c:pt idx="274">
                  <c:v>65.604100000000003</c:v>
                </c:pt>
                <c:pt idx="275">
                  <c:v>66.441999999999993</c:v>
                </c:pt>
                <c:pt idx="276">
                  <c:v>66.318299999999994</c:v>
                </c:pt>
                <c:pt idx="277">
                  <c:v>64.194999999999993</c:v>
                </c:pt>
                <c:pt idx="278">
                  <c:v>61.951999999999998</c:v>
                </c:pt>
                <c:pt idx="279">
                  <c:v>66.007000000000005</c:v>
                </c:pt>
                <c:pt idx="280">
                  <c:v>65.413700000000006</c:v>
                </c:pt>
                <c:pt idx="281">
                  <c:v>64.637500000000003</c:v>
                </c:pt>
                <c:pt idx="282">
                  <c:v>62.591200000000001</c:v>
                </c:pt>
                <c:pt idx="283">
                  <c:v>60.52</c:v>
                </c:pt>
                <c:pt idx="284">
                  <c:v>57.684100000000001</c:v>
                </c:pt>
                <c:pt idx="285">
                  <c:v>55.807000000000002</c:v>
                </c:pt>
                <c:pt idx="286">
                  <c:v>57.281999999999996</c:v>
                </c:pt>
                <c:pt idx="287">
                  <c:v>55.951999999999998</c:v>
                </c:pt>
                <c:pt idx="288">
                  <c:v>56.575000000000003</c:v>
                </c:pt>
                <c:pt idx="289">
                  <c:v>55.566200000000002</c:v>
                </c:pt>
                <c:pt idx="290">
                  <c:v>54.022500000000001</c:v>
                </c:pt>
                <c:pt idx="291">
                  <c:v>52.272500000000001</c:v>
                </c:pt>
                <c:pt idx="292">
                  <c:v>50.354500000000002</c:v>
                </c:pt>
                <c:pt idx="293">
                  <c:v>50.085799999999999</c:v>
                </c:pt>
                <c:pt idx="294">
                  <c:v>50.359499999999997</c:v>
                </c:pt>
                <c:pt idx="295">
                  <c:v>53.353700000000003</c:v>
                </c:pt>
                <c:pt idx="296">
                  <c:v>51.888300000000001</c:v>
                </c:pt>
                <c:pt idx="297">
                  <c:v>49.154499999999999</c:v>
                </c:pt>
                <c:pt idx="298">
                  <c:v>49.396999999999998</c:v>
                </c:pt>
                <c:pt idx="299">
                  <c:v>42.643599999999999</c:v>
                </c:pt>
                <c:pt idx="300">
                  <c:v>50.311599999999999</c:v>
                </c:pt>
                <c:pt idx="301">
                  <c:v>52.022500000000001</c:v>
                </c:pt>
                <c:pt idx="302">
                  <c:v>52.9116</c:v>
                </c:pt>
                <c:pt idx="303">
                  <c:v>54.955399999999997</c:v>
                </c:pt>
                <c:pt idx="304">
                  <c:v>55.028300000000002</c:v>
                </c:pt>
                <c:pt idx="305">
                  <c:v>52.164999999999999</c:v>
                </c:pt>
                <c:pt idx="306">
                  <c:v>51.471600000000002</c:v>
                </c:pt>
                <c:pt idx="307">
                  <c:v>53.8279</c:v>
                </c:pt>
                <c:pt idx="308">
                  <c:v>55.363300000000002</c:v>
                </c:pt>
                <c:pt idx="309">
                  <c:v>54.164499999999997</c:v>
                </c:pt>
                <c:pt idx="310">
                  <c:v>54.2012</c:v>
                </c:pt>
                <c:pt idx="311">
                  <c:v>54.766199999999998</c:v>
                </c:pt>
                <c:pt idx="312">
                  <c:v>53.418300000000002</c:v>
                </c:pt>
                <c:pt idx="313">
                  <c:v>49.2804</c:v>
                </c:pt>
                <c:pt idx="314">
                  <c:v>50.894500000000001</c:v>
                </c:pt>
                <c:pt idx="315">
                  <c:v>52.069499999999998</c:v>
                </c:pt>
                <c:pt idx="316">
                  <c:v>53.259500000000003</c:v>
                </c:pt>
                <c:pt idx="317">
                  <c:v>54.4116</c:v>
                </c:pt>
                <c:pt idx="318">
                  <c:v>52.7012</c:v>
                </c:pt>
                <c:pt idx="319">
                  <c:v>48.486600000000003</c:v>
                </c:pt>
                <c:pt idx="320">
                  <c:v>48.13</c:v>
                </c:pt>
                <c:pt idx="321">
                  <c:v>54.1875</c:v>
                </c:pt>
                <c:pt idx="322">
                  <c:v>50.932000000000002</c:v>
                </c:pt>
                <c:pt idx="323">
                  <c:v>50.1158</c:v>
                </c:pt>
                <c:pt idx="324">
                  <c:v>49.442</c:v>
                </c:pt>
                <c:pt idx="325">
                  <c:v>49.9375</c:v>
                </c:pt>
                <c:pt idx="326">
                  <c:v>46.454999999999998</c:v>
                </c:pt>
                <c:pt idx="327">
                  <c:v>46.905000000000001</c:v>
                </c:pt>
                <c:pt idx="328">
                  <c:v>60.576599999999999</c:v>
                </c:pt>
                <c:pt idx="329">
                  <c:v>57.120399999999997</c:v>
                </c:pt>
                <c:pt idx="330">
                  <c:v>48.206600000000002</c:v>
                </c:pt>
                <c:pt idx="331">
                  <c:v>45.966200000000001</c:v>
                </c:pt>
                <c:pt idx="332">
                  <c:v>46.338700000000003</c:v>
                </c:pt>
                <c:pt idx="333">
                  <c:v>46.6462</c:v>
                </c:pt>
                <c:pt idx="334">
                  <c:v>46.580800000000004</c:v>
                </c:pt>
                <c:pt idx="335">
                  <c:v>54.8262</c:v>
                </c:pt>
                <c:pt idx="336">
                  <c:v>48.476599999999998</c:v>
                </c:pt>
                <c:pt idx="337">
                  <c:v>49.989100000000001</c:v>
                </c:pt>
                <c:pt idx="338">
                  <c:v>48.414499999999997</c:v>
                </c:pt>
                <c:pt idx="339">
                  <c:v>47.272500000000001</c:v>
                </c:pt>
                <c:pt idx="340">
                  <c:v>43.639099999999999</c:v>
                </c:pt>
                <c:pt idx="341">
                  <c:v>43.130400000000002</c:v>
                </c:pt>
                <c:pt idx="342">
                  <c:v>45.914099999999998</c:v>
                </c:pt>
                <c:pt idx="343">
                  <c:v>54.71</c:v>
                </c:pt>
                <c:pt idx="344">
                  <c:v>52.781599999999997</c:v>
                </c:pt>
                <c:pt idx="345">
                  <c:v>52.803699999999999</c:v>
                </c:pt>
                <c:pt idx="346">
                  <c:v>48.160400000000003</c:v>
                </c:pt>
                <c:pt idx="347">
                  <c:v>44.522500000000001</c:v>
                </c:pt>
                <c:pt idx="348">
                  <c:v>42.658700000000003</c:v>
                </c:pt>
                <c:pt idx="349">
                  <c:v>50.345799999999997</c:v>
                </c:pt>
                <c:pt idx="350">
                  <c:v>45.824100000000001</c:v>
                </c:pt>
                <c:pt idx="351">
                  <c:v>43.422499999999999</c:v>
                </c:pt>
                <c:pt idx="352">
                  <c:v>41.684100000000001</c:v>
                </c:pt>
                <c:pt idx="353">
                  <c:v>39.731999999999999</c:v>
                </c:pt>
                <c:pt idx="354">
                  <c:v>37.173699999999997</c:v>
                </c:pt>
                <c:pt idx="355">
                  <c:v>37.483699999999999</c:v>
                </c:pt>
                <c:pt idx="356">
                  <c:v>40.025799999999997</c:v>
                </c:pt>
                <c:pt idx="357">
                  <c:v>41.0304</c:v>
                </c:pt>
                <c:pt idx="358">
                  <c:v>38.520400000000002</c:v>
                </c:pt>
                <c:pt idx="359">
                  <c:v>37.7483</c:v>
                </c:pt>
                <c:pt idx="360">
                  <c:v>38.879100000000001</c:v>
                </c:pt>
                <c:pt idx="361">
                  <c:v>41.059100000000001</c:v>
                </c:pt>
                <c:pt idx="362">
                  <c:v>40.962499999999999</c:v>
                </c:pt>
                <c:pt idx="363">
                  <c:v>43.387</c:v>
                </c:pt>
                <c:pt idx="364">
                  <c:v>43.648699999999998</c:v>
                </c:pt>
                <c:pt idx="365">
                  <c:v>41.877499999999998</c:v>
                </c:pt>
                <c:pt idx="366">
                  <c:v>41.258699999999997</c:v>
                </c:pt>
                <c:pt idx="367">
                  <c:v>47.5687</c:v>
                </c:pt>
                <c:pt idx="368">
                  <c:v>41.668300000000002</c:v>
                </c:pt>
                <c:pt idx="369">
                  <c:v>42.26</c:v>
                </c:pt>
                <c:pt idx="370">
                  <c:v>46.15</c:v>
                </c:pt>
                <c:pt idx="371">
                  <c:v>42.82</c:v>
                </c:pt>
                <c:pt idx="372">
                  <c:v>57.26</c:v>
                </c:pt>
                <c:pt idx="373">
                  <c:v>44.79</c:v>
                </c:pt>
                <c:pt idx="374">
                  <c:v>41.67</c:v>
                </c:pt>
                <c:pt idx="375">
                  <c:v>40.97</c:v>
                </c:pt>
                <c:pt idx="376">
                  <c:v>37.69</c:v>
                </c:pt>
                <c:pt idx="377">
                  <c:v>39.049999999999997</c:v>
                </c:pt>
                <c:pt idx="378">
                  <c:v>40.24</c:v>
                </c:pt>
                <c:pt idx="379">
                  <c:v>42.53</c:v>
                </c:pt>
                <c:pt idx="380">
                  <c:v>45.55</c:v>
                </c:pt>
                <c:pt idx="381">
                  <c:v>42.34</c:v>
                </c:pt>
                <c:pt idx="382">
                  <c:v>40.090000000000003</c:v>
                </c:pt>
                <c:pt idx="383">
                  <c:v>37.909999999999997</c:v>
                </c:pt>
                <c:pt idx="384">
                  <c:v>40.57</c:v>
                </c:pt>
                <c:pt idx="385">
                  <c:v>39.700000000000003</c:v>
                </c:pt>
                <c:pt idx="386">
                  <c:v>38.93</c:v>
                </c:pt>
                <c:pt idx="387">
                  <c:v>37.67</c:v>
                </c:pt>
                <c:pt idx="388">
                  <c:v>37.47</c:v>
                </c:pt>
                <c:pt idx="389">
                  <c:v>36.56</c:v>
                </c:pt>
                <c:pt idx="390">
                  <c:v>37.11</c:v>
                </c:pt>
                <c:pt idx="391">
                  <c:v>39.61</c:v>
                </c:pt>
                <c:pt idx="392">
                  <c:v>40.86</c:v>
                </c:pt>
                <c:pt idx="393">
                  <c:v>40.83</c:v>
                </c:pt>
                <c:pt idx="394">
                  <c:v>41.3</c:v>
                </c:pt>
                <c:pt idx="395">
                  <c:v>40.93</c:v>
                </c:pt>
                <c:pt idx="396">
                  <c:v>40.33</c:v>
                </c:pt>
                <c:pt idx="397">
                  <c:v>38.61</c:v>
                </c:pt>
                <c:pt idx="398">
                  <c:v>41.43</c:v>
                </c:pt>
                <c:pt idx="399">
                  <c:v>41.38</c:v>
                </c:pt>
                <c:pt idx="400">
                  <c:v>41.92</c:v>
                </c:pt>
                <c:pt idx="401">
                  <c:v>41.26</c:v>
                </c:pt>
                <c:pt idx="402">
                  <c:v>40.6</c:v>
                </c:pt>
                <c:pt idx="403">
                  <c:v>39.68</c:v>
                </c:pt>
                <c:pt idx="404">
                  <c:v>39.200000000000003</c:v>
                </c:pt>
                <c:pt idx="405">
                  <c:v>42.3</c:v>
                </c:pt>
                <c:pt idx="406">
                  <c:v>41.34</c:v>
                </c:pt>
                <c:pt idx="407">
                  <c:v>41.08</c:v>
                </c:pt>
                <c:pt idx="408">
                  <c:v>40.840000000000003</c:v>
                </c:pt>
                <c:pt idx="409">
                  <c:v>40.950000000000003</c:v>
                </c:pt>
                <c:pt idx="410">
                  <c:v>38.65</c:v>
                </c:pt>
                <c:pt idx="411">
                  <c:v>37.72</c:v>
                </c:pt>
                <c:pt idx="412">
                  <c:v>40.64</c:v>
                </c:pt>
                <c:pt idx="413">
                  <c:v>39.51</c:v>
                </c:pt>
                <c:pt idx="414">
                  <c:v>38.42</c:v>
                </c:pt>
                <c:pt idx="415">
                  <c:v>36.99</c:v>
                </c:pt>
                <c:pt idx="416">
                  <c:v>36.24</c:v>
                </c:pt>
                <c:pt idx="417">
                  <c:v>35</c:v>
                </c:pt>
                <c:pt idx="418">
                  <c:v>33.369999999999997</c:v>
                </c:pt>
                <c:pt idx="419">
                  <c:v>35.270000000000003</c:v>
                </c:pt>
                <c:pt idx="420">
                  <c:v>35.409999999999997</c:v>
                </c:pt>
                <c:pt idx="421">
                  <c:v>33.770000000000003</c:v>
                </c:pt>
                <c:pt idx="422">
                  <c:v>32.4</c:v>
                </c:pt>
                <c:pt idx="423">
                  <c:v>32.92</c:v>
                </c:pt>
                <c:pt idx="424">
                  <c:v>32.92</c:v>
                </c:pt>
                <c:pt idx="425">
                  <c:v>31.95</c:v>
                </c:pt>
                <c:pt idx="426">
                  <c:v>33.71</c:v>
                </c:pt>
                <c:pt idx="427">
                  <c:v>33.6</c:v>
                </c:pt>
                <c:pt idx="428">
                  <c:v>32.53</c:v>
                </c:pt>
                <c:pt idx="429">
                  <c:v>33.06</c:v>
                </c:pt>
                <c:pt idx="430">
                  <c:v>33.619999999999997</c:v>
                </c:pt>
                <c:pt idx="431">
                  <c:v>33.19</c:v>
                </c:pt>
                <c:pt idx="432">
                  <c:v>32.340000000000003</c:v>
                </c:pt>
                <c:pt idx="433">
                  <c:v>36.11</c:v>
                </c:pt>
                <c:pt idx="434">
                  <c:v>38.799999999999997</c:v>
                </c:pt>
                <c:pt idx="435">
                  <c:v>37.15</c:v>
                </c:pt>
                <c:pt idx="436">
                  <c:v>37.99</c:v>
                </c:pt>
                <c:pt idx="437">
                  <c:v>34.85</c:v>
                </c:pt>
                <c:pt idx="438">
                  <c:v>33.630000000000003</c:v>
                </c:pt>
                <c:pt idx="439">
                  <c:v>33.57</c:v>
                </c:pt>
                <c:pt idx="440">
                  <c:v>35.36</c:v>
                </c:pt>
                <c:pt idx="441">
                  <c:v>33.96</c:v>
                </c:pt>
                <c:pt idx="442">
                  <c:v>34.869999999999997</c:v>
                </c:pt>
                <c:pt idx="443">
                  <c:v>35.54</c:v>
                </c:pt>
                <c:pt idx="444">
                  <c:v>35.32</c:v>
                </c:pt>
                <c:pt idx="445">
                  <c:v>33.700000000000003</c:v>
                </c:pt>
                <c:pt idx="446">
                  <c:v>32.07</c:v>
                </c:pt>
                <c:pt idx="447">
                  <c:v>34.520000000000003</c:v>
                </c:pt>
                <c:pt idx="448">
                  <c:v>36.76</c:v>
                </c:pt>
                <c:pt idx="449">
                  <c:v>37.65</c:v>
                </c:pt>
                <c:pt idx="450">
                  <c:v>38.01</c:v>
                </c:pt>
                <c:pt idx="451">
                  <c:v>36.549999999999997</c:v>
                </c:pt>
                <c:pt idx="452">
                  <c:v>35.54</c:v>
                </c:pt>
                <c:pt idx="453">
                  <c:v>35.270000000000003</c:v>
                </c:pt>
                <c:pt idx="454">
                  <c:v>38.76</c:v>
                </c:pt>
                <c:pt idx="455">
                  <c:v>36.799999999999997</c:v>
                </c:pt>
                <c:pt idx="456">
                  <c:v>39.6</c:v>
                </c:pt>
                <c:pt idx="457">
                  <c:v>36.85</c:v>
                </c:pt>
                <c:pt idx="458">
                  <c:v>37.79</c:v>
                </c:pt>
                <c:pt idx="459">
                  <c:v>35.799999999999997</c:v>
                </c:pt>
                <c:pt idx="460">
                  <c:v>35.119999999999997</c:v>
                </c:pt>
                <c:pt idx="461">
                  <c:v>36.83</c:v>
                </c:pt>
                <c:pt idx="462">
                  <c:v>36.11</c:v>
                </c:pt>
                <c:pt idx="463">
                  <c:v>35.380000000000003</c:v>
                </c:pt>
                <c:pt idx="464">
                  <c:v>34.9</c:v>
                </c:pt>
                <c:pt idx="465">
                  <c:v>31.21</c:v>
                </c:pt>
                <c:pt idx="466">
                  <c:v>31.07</c:v>
                </c:pt>
                <c:pt idx="467">
                  <c:v>28.12</c:v>
                </c:pt>
                <c:pt idx="468">
                  <c:v>29.82</c:v>
                </c:pt>
                <c:pt idx="469">
                  <c:v>34.75</c:v>
                </c:pt>
                <c:pt idx="470">
                  <c:v>34.43</c:v>
                </c:pt>
                <c:pt idx="471">
                  <c:v>32.5</c:v>
                </c:pt>
                <c:pt idx="472">
                  <c:v>33.630000000000003</c:v>
                </c:pt>
                <c:pt idx="473">
                  <c:v>33.51</c:v>
                </c:pt>
                <c:pt idx="474">
                  <c:v>32.42</c:v>
                </c:pt>
                <c:pt idx="475">
                  <c:v>36.99</c:v>
                </c:pt>
                <c:pt idx="476">
                  <c:v>37.200000000000003</c:v>
                </c:pt>
                <c:pt idx="477">
                  <c:v>36.090000000000003</c:v>
                </c:pt>
                <c:pt idx="478">
                  <c:v>36.590000000000003</c:v>
                </c:pt>
                <c:pt idx="479">
                  <c:v>35.46</c:v>
                </c:pt>
                <c:pt idx="480">
                  <c:v>30.17</c:v>
                </c:pt>
                <c:pt idx="481">
                  <c:v>29.46</c:v>
                </c:pt>
                <c:pt idx="482">
                  <c:v>33.29</c:v>
                </c:pt>
                <c:pt idx="483">
                  <c:v>30.56</c:v>
                </c:pt>
                <c:pt idx="484">
                  <c:v>33.14</c:v>
                </c:pt>
                <c:pt idx="485">
                  <c:v>32.29</c:v>
                </c:pt>
                <c:pt idx="486">
                  <c:v>27.38</c:v>
                </c:pt>
                <c:pt idx="487">
                  <c:v>28.05</c:v>
                </c:pt>
                <c:pt idx="488">
                  <c:v>24.27</c:v>
                </c:pt>
                <c:pt idx="489">
                  <c:v>32.58</c:v>
                </c:pt>
                <c:pt idx="490">
                  <c:v>29.09</c:v>
                </c:pt>
                <c:pt idx="491">
                  <c:v>32.51</c:v>
                </c:pt>
                <c:pt idx="492">
                  <c:v>32.369999999999997</c:v>
                </c:pt>
                <c:pt idx="493">
                  <c:v>32.64</c:v>
                </c:pt>
                <c:pt idx="494">
                  <c:v>29.1</c:v>
                </c:pt>
                <c:pt idx="495">
                  <c:v>29.49</c:v>
                </c:pt>
                <c:pt idx="496">
                  <c:v>34.74</c:v>
                </c:pt>
                <c:pt idx="497">
                  <c:v>34.659999999999997</c:v>
                </c:pt>
                <c:pt idx="498">
                  <c:v>36.130000000000003</c:v>
                </c:pt>
                <c:pt idx="499">
                  <c:v>36.78</c:v>
                </c:pt>
                <c:pt idx="500">
                  <c:v>35.07</c:v>
                </c:pt>
                <c:pt idx="501">
                  <c:v>34.04</c:v>
                </c:pt>
                <c:pt idx="502">
                  <c:v>33.17</c:v>
                </c:pt>
                <c:pt idx="503">
                  <c:v>36.799999999999997</c:v>
                </c:pt>
                <c:pt idx="504">
                  <c:v>36.26</c:v>
                </c:pt>
                <c:pt idx="505">
                  <c:v>36.36</c:v>
                </c:pt>
                <c:pt idx="506">
                  <c:v>32.96</c:v>
                </c:pt>
                <c:pt idx="507">
                  <c:v>34.5</c:v>
                </c:pt>
                <c:pt idx="508">
                  <c:v>31.33</c:v>
                </c:pt>
                <c:pt idx="509">
                  <c:v>32.950000000000003</c:v>
                </c:pt>
                <c:pt idx="510">
                  <c:v>36.9</c:v>
                </c:pt>
                <c:pt idx="511">
                  <c:v>35.520000000000003</c:v>
                </c:pt>
                <c:pt idx="512">
                  <c:v>33.31</c:v>
                </c:pt>
                <c:pt idx="513">
                  <c:v>34.479999999999997</c:v>
                </c:pt>
                <c:pt idx="514">
                  <c:v>35.74</c:v>
                </c:pt>
                <c:pt idx="515">
                  <c:v>30.3</c:v>
                </c:pt>
                <c:pt idx="516">
                  <c:v>23.39</c:v>
                </c:pt>
                <c:pt idx="517">
                  <c:v>30.67</c:v>
                </c:pt>
                <c:pt idx="518">
                  <c:v>34.64</c:v>
                </c:pt>
                <c:pt idx="519">
                  <c:v>34.76</c:v>
                </c:pt>
                <c:pt idx="520">
                  <c:v>36.979999999999997</c:v>
                </c:pt>
                <c:pt idx="521">
                  <c:v>38.4</c:v>
                </c:pt>
                <c:pt idx="522">
                  <c:v>35.58</c:v>
                </c:pt>
                <c:pt idx="523">
                  <c:v>35.32</c:v>
                </c:pt>
                <c:pt idx="524">
                  <c:v>38.74</c:v>
                </c:pt>
                <c:pt idx="525">
                  <c:v>39.11</c:v>
                </c:pt>
                <c:pt idx="526">
                  <c:v>38.65</c:v>
                </c:pt>
                <c:pt idx="527">
                  <c:v>36.909999999999997</c:v>
                </c:pt>
                <c:pt idx="528">
                  <c:v>35.5</c:v>
                </c:pt>
                <c:pt idx="529">
                  <c:v>32.630000000000003</c:v>
                </c:pt>
                <c:pt idx="530">
                  <c:v>32.92</c:v>
                </c:pt>
                <c:pt idx="531">
                  <c:v>37.28</c:v>
                </c:pt>
                <c:pt idx="532">
                  <c:v>36.5</c:v>
                </c:pt>
                <c:pt idx="533">
                  <c:v>35.72</c:v>
                </c:pt>
                <c:pt idx="534">
                  <c:v>33.92</c:v>
                </c:pt>
                <c:pt idx="535">
                  <c:v>33.86</c:v>
                </c:pt>
                <c:pt idx="536">
                  <c:v>29.86</c:v>
                </c:pt>
                <c:pt idx="537">
                  <c:v>28.84</c:v>
                </c:pt>
                <c:pt idx="538">
                  <c:v>36.79</c:v>
                </c:pt>
                <c:pt idx="539">
                  <c:v>35.92</c:v>
                </c:pt>
                <c:pt idx="540">
                  <c:v>36.130000000000003</c:v>
                </c:pt>
                <c:pt idx="541">
                  <c:v>35.68</c:v>
                </c:pt>
                <c:pt idx="542">
                  <c:v>35.74</c:v>
                </c:pt>
                <c:pt idx="543">
                  <c:v>32.96</c:v>
                </c:pt>
                <c:pt idx="544">
                  <c:v>33.86</c:v>
                </c:pt>
                <c:pt idx="545">
                  <c:v>38.049999999999997</c:v>
                </c:pt>
                <c:pt idx="546">
                  <c:v>39.200000000000003</c:v>
                </c:pt>
                <c:pt idx="547">
                  <c:v>39.25</c:v>
                </c:pt>
                <c:pt idx="548">
                  <c:v>39.01</c:v>
                </c:pt>
                <c:pt idx="549">
                  <c:v>38.369999999999997</c:v>
                </c:pt>
                <c:pt idx="550">
                  <c:v>36.950000000000003</c:v>
                </c:pt>
                <c:pt idx="551">
                  <c:v>35.590000000000003</c:v>
                </c:pt>
                <c:pt idx="552">
                  <c:v>38.42</c:v>
                </c:pt>
                <c:pt idx="553">
                  <c:v>37.51</c:v>
                </c:pt>
                <c:pt idx="554">
                  <c:v>36.76</c:v>
                </c:pt>
                <c:pt idx="555">
                  <c:v>35.299999999999997</c:v>
                </c:pt>
                <c:pt idx="556">
                  <c:v>34.97</c:v>
                </c:pt>
                <c:pt idx="557">
                  <c:v>32.880000000000003</c:v>
                </c:pt>
                <c:pt idx="558">
                  <c:v>32.92</c:v>
                </c:pt>
                <c:pt idx="559">
                  <c:v>34.25</c:v>
                </c:pt>
                <c:pt idx="560">
                  <c:v>34.47</c:v>
                </c:pt>
                <c:pt idx="561">
                  <c:v>34.729999999999997</c:v>
                </c:pt>
                <c:pt idx="562">
                  <c:v>34.549999999999997</c:v>
                </c:pt>
                <c:pt idx="563">
                  <c:v>34.78</c:v>
                </c:pt>
                <c:pt idx="564">
                  <c:v>32.85</c:v>
                </c:pt>
                <c:pt idx="565">
                  <c:v>28.35</c:v>
                </c:pt>
                <c:pt idx="566">
                  <c:v>33.409999999999997</c:v>
                </c:pt>
                <c:pt idx="567">
                  <c:v>30.45</c:v>
                </c:pt>
                <c:pt idx="568">
                  <c:v>33.5</c:v>
                </c:pt>
                <c:pt idx="569">
                  <c:v>31.31</c:v>
                </c:pt>
                <c:pt idx="570">
                  <c:v>31.37</c:v>
                </c:pt>
                <c:pt idx="571">
                  <c:v>30.36</c:v>
                </c:pt>
                <c:pt idx="572">
                  <c:v>18.510000000000002</c:v>
                </c:pt>
                <c:pt idx="573">
                  <c:v>25.85</c:v>
                </c:pt>
                <c:pt idx="574">
                  <c:v>28.28</c:v>
                </c:pt>
                <c:pt idx="575">
                  <c:v>30.14</c:v>
                </c:pt>
                <c:pt idx="576">
                  <c:v>25.28</c:v>
                </c:pt>
                <c:pt idx="577">
                  <c:v>26.61</c:v>
                </c:pt>
                <c:pt idx="578">
                  <c:v>30.16</c:v>
                </c:pt>
                <c:pt idx="579">
                  <c:v>28.55</c:v>
                </c:pt>
                <c:pt idx="580">
                  <c:v>32.369999999999997</c:v>
                </c:pt>
                <c:pt idx="581">
                  <c:v>31.247</c:v>
                </c:pt>
                <c:pt idx="582">
                  <c:v>31.766999999999999</c:v>
                </c:pt>
                <c:pt idx="583">
                  <c:v>32.081200000000003</c:v>
                </c:pt>
                <c:pt idx="584">
                  <c:v>31.7791</c:v>
                </c:pt>
                <c:pt idx="585">
                  <c:v>30.142900000000001</c:v>
                </c:pt>
                <c:pt idx="586">
                  <c:v>30.595400000000001</c:v>
                </c:pt>
                <c:pt idx="587">
                  <c:v>33.555399999999999</c:v>
                </c:pt>
                <c:pt idx="588">
                  <c:v>33.8095</c:v>
                </c:pt>
                <c:pt idx="589">
                  <c:v>33.726599999999998</c:v>
                </c:pt>
                <c:pt idx="590">
                  <c:v>33.786200000000001</c:v>
                </c:pt>
                <c:pt idx="591">
                  <c:v>33.722900000000003</c:v>
                </c:pt>
                <c:pt idx="592">
                  <c:v>32.503700000000002</c:v>
                </c:pt>
                <c:pt idx="593">
                  <c:v>30.5366</c:v>
                </c:pt>
                <c:pt idx="594">
                  <c:v>34.733699999999999</c:v>
                </c:pt>
                <c:pt idx="595">
                  <c:v>33.767499999999998</c:v>
                </c:pt>
                <c:pt idx="596">
                  <c:v>33.965400000000002</c:v>
                </c:pt>
                <c:pt idx="597">
                  <c:v>32.554099999999998</c:v>
                </c:pt>
                <c:pt idx="598">
                  <c:v>32.6008</c:v>
                </c:pt>
                <c:pt idx="599">
                  <c:v>32.969499999999996</c:v>
                </c:pt>
                <c:pt idx="600">
                  <c:v>31.6525</c:v>
                </c:pt>
                <c:pt idx="601">
                  <c:v>35.366199999999999</c:v>
                </c:pt>
                <c:pt idx="602">
                  <c:v>35.296599999999998</c:v>
                </c:pt>
                <c:pt idx="603">
                  <c:v>34.3262</c:v>
                </c:pt>
                <c:pt idx="604">
                  <c:v>34.741999999999997</c:v>
                </c:pt>
                <c:pt idx="605">
                  <c:v>32.385800000000003</c:v>
                </c:pt>
                <c:pt idx="606">
                  <c:v>29.1145</c:v>
                </c:pt>
                <c:pt idx="607">
                  <c:v>28.401199999999999</c:v>
                </c:pt>
                <c:pt idx="608">
                  <c:v>32.577500000000001</c:v>
                </c:pt>
                <c:pt idx="609">
                  <c:v>32.776200000000003</c:v>
                </c:pt>
                <c:pt idx="610">
                  <c:v>33.508699999999997</c:v>
                </c:pt>
                <c:pt idx="611">
                  <c:v>32.1858</c:v>
                </c:pt>
                <c:pt idx="612">
                  <c:v>29.411200000000001</c:v>
                </c:pt>
                <c:pt idx="613">
                  <c:v>26.832000000000001</c:v>
                </c:pt>
                <c:pt idx="614">
                  <c:v>24.8691</c:v>
                </c:pt>
                <c:pt idx="615">
                  <c:v>30.605799999999999</c:v>
                </c:pt>
                <c:pt idx="616">
                  <c:v>31.678699999999999</c:v>
                </c:pt>
                <c:pt idx="617">
                  <c:v>30.981999999999999</c:v>
                </c:pt>
                <c:pt idx="618">
                  <c:v>31.1633</c:v>
                </c:pt>
                <c:pt idx="619">
                  <c:v>29.691199999999998</c:v>
                </c:pt>
                <c:pt idx="620">
                  <c:v>27.797000000000001</c:v>
                </c:pt>
                <c:pt idx="621">
                  <c:v>26.018699999999999</c:v>
                </c:pt>
                <c:pt idx="622">
                  <c:v>29.689499999999999</c:v>
                </c:pt>
                <c:pt idx="623">
                  <c:v>30.23</c:v>
                </c:pt>
                <c:pt idx="624">
                  <c:v>30.433299999999999</c:v>
                </c:pt>
                <c:pt idx="625">
                  <c:v>30.077500000000001</c:v>
                </c:pt>
                <c:pt idx="626">
                  <c:v>29.363700000000001</c:v>
                </c:pt>
                <c:pt idx="627">
                  <c:v>26.767499999999998</c:v>
                </c:pt>
                <c:pt idx="628">
                  <c:v>25.418700000000001</c:v>
                </c:pt>
                <c:pt idx="629">
                  <c:v>28.765000000000001</c:v>
                </c:pt>
                <c:pt idx="630">
                  <c:v>27.690799999999999</c:v>
                </c:pt>
                <c:pt idx="631">
                  <c:v>27.396599999999999</c:v>
                </c:pt>
                <c:pt idx="632">
                  <c:v>26.9391</c:v>
                </c:pt>
                <c:pt idx="633">
                  <c:v>27.185400000000001</c:v>
                </c:pt>
                <c:pt idx="634">
                  <c:v>24.159500000000001</c:v>
                </c:pt>
                <c:pt idx="635">
                  <c:v>21.764099999999999</c:v>
                </c:pt>
                <c:pt idx="636">
                  <c:v>26.055399999999999</c:v>
                </c:pt>
                <c:pt idx="637">
                  <c:v>28.1845</c:v>
                </c:pt>
                <c:pt idx="638">
                  <c:v>30.6587</c:v>
                </c:pt>
                <c:pt idx="639">
                  <c:v>30.9041</c:v>
                </c:pt>
                <c:pt idx="640">
                  <c:v>30.425799999999999</c:v>
                </c:pt>
                <c:pt idx="641">
                  <c:v>24.7883</c:v>
                </c:pt>
                <c:pt idx="642">
                  <c:v>19.734500000000001</c:v>
                </c:pt>
                <c:pt idx="643">
                  <c:v>29.693300000000001</c:v>
                </c:pt>
                <c:pt idx="644">
                  <c:v>31.031600000000001</c:v>
                </c:pt>
                <c:pt idx="645">
                  <c:v>29.2529</c:v>
                </c:pt>
                <c:pt idx="646">
                  <c:v>31.706199999999999</c:v>
                </c:pt>
                <c:pt idx="647">
                  <c:v>32.1158</c:v>
                </c:pt>
                <c:pt idx="648">
                  <c:v>30.8079</c:v>
                </c:pt>
                <c:pt idx="649">
                  <c:v>30.184999999999999</c:v>
                </c:pt>
                <c:pt idx="650">
                  <c:v>32.6633</c:v>
                </c:pt>
                <c:pt idx="651">
                  <c:v>34.759099999999997</c:v>
                </c:pt>
                <c:pt idx="652">
                  <c:v>34.904499999999999</c:v>
                </c:pt>
                <c:pt idx="653">
                  <c:v>36.042900000000003</c:v>
                </c:pt>
                <c:pt idx="654">
                  <c:v>34.737499999999997</c:v>
                </c:pt>
                <c:pt idx="655">
                  <c:v>33.714100000000002</c:v>
                </c:pt>
                <c:pt idx="656">
                  <c:v>34.3279</c:v>
                </c:pt>
                <c:pt idx="657">
                  <c:v>36.6</c:v>
                </c:pt>
                <c:pt idx="658">
                  <c:v>37.549999999999997</c:v>
                </c:pt>
                <c:pt idx="659">
                  <c:v>37.049999999999997</c:v>
                </c:pt>
                <c:pt idx="660">
                  <c:v>36.92</c:v>
                </c:pt>
                <c:pt idx="661">
                  <c:v>37.119999999999997</c:v>
                </c:pt>
                <c:pt idx="662">
                  <c:v>35.99</c:v>
                </c:pt>
                <c:pt idx="663">
                  <c:v>34.58</c:v>
                </c:pt>
                <c:pt idx="664">
                  <c:v>37.237000000000002</c:v>
                </c:pt>
                <c:pt idx="665">
                  <c:v>37.885399999999997</c:v>
                </c:pt>
                <c:pt idx="666">
                  <c:v>38.746600000000001</c:v>
                </c:pt>
                <c:pt idx="667">
                  <c:v>38.726599999999998</c:v>
                </c:pt>
                <c:pt idx="668">
                  <c:v>39.440399999999997</c:v>
                </c:pt>
                <c:pt idx="669">
                  <c:v>36.965000000000003</c:v>
                </c:pt>
                <c:pt idx="670">
                  <c:v>35.625799999999998</c:v>
                </c:pt>
                <c:pt idx="671">
                  <c:v>38.3504</c:v>
                </c:pt>
                <c:pt idx="672">
                  <c:v>37.870399999999997</c:v>
                </c:pt>
                <c:pt idx="673">
                  <c:v>37.844499999999996</c:v>
                </c:pt>
                <c:pt idx="674">
                  <c:v>38.0745</c:v>
                </c:pt>
                <c:pt idx="675">
                  <c:v>38.430399999999999</c:v>
                </c:pt>
                <c:pt idx="676">
                  <c:v>36.655000000000001</c:v>
                </c:pt>
                <c:pt idx="677">
                  <c:v>37.1845</c:v>
                </c:pt>
                <c:pt idx="678">
                  <c:v>38.6479</c:v>
                </c:pt>
                <c:pt idx="679">
                  <c:v>39.5154</c:v>
                </c:pt>
                <c:pt idx="680">
                  <c:v>39.939100000000003</c:v>
                </c:pt>
                <c:pt idx="681">
                  <c:v>43.723300000000002</c:v>
                </c:pt>
                <c:pt idx="682">
                  <c:v>39.014099999999999</c:v>
                </c:pt>
                <c:pt idx="683">
                  <c:v>35.895800000000001</c:v>
                </c:pt>
                <c:pt idx="684">
                  <c:v>35.551600000000001</c:v>
                </c:pt>
                <c:pt idx="685">
                  <c:v>37.922899999999998</c:v>
                </c:pt>
                <c:pt idx="686">
                  <c:v>36.915399999999998</c:v>
                </c:pt>
                <c:pt idx="687">
                  <c:v>36.351999999999997</c:v>
                </c:pt>
                <c:pt idx="688">
                  <c:v>36.104500000000002</c:v>
                </c:pt>
                <c:pt idx="689">
                  <c:v>34.574100000000001</c:v>
                </c:pt>
                <c:pt idx="690">
                  <c:v>33.491599999999998</c:v>
                </c:pt>
                <c:pt idx="691">
                  <c:v>31.818300000000001</c:v>
                </c:pt>
                <c:pt idx="692">
                  <c:v>33.707900000000002</c:v>
                </c:pt>
                <c:pt idx="693">
                  <c:v>35.1066</c:v>
                </c:pt>
                <c:pt idx="694">
                  <c:v>34.962899999999998</c:v>
                </c:pt>
                <c:pt idx="695">
                  <c:v>32.844999999999999</c:v>
                </c:pt>
                <c:pt idx="696">
                  <c:v>33.945</c:v>
                </c:pt>
                <c:pt idx="697">
                  <c:v>32.735799999999998</c:v>
                </c:pt>
                <c:pt idx="698">
                  <c:v>33.149500000000003</c:v>
                </c:pt>
                <c:pt idx="699">
                  <c:v>35.548299999999998</c:v>
                </c:pt>
                <c:pt idx="700">
                  <c:v>35.979999999999997</c:v>
                </c:pt>
                <c:pt idx="701">
                  <c:v>41.911200000000001</c:v>
                </c:pt>
                <c:pt idx="702">
                  <c:v>38.179499999999997</c:v>
                </c:pt>
                <c:pt idx="703">
                  <c:v>36.126600000000003</c:v>
                </c:pt>
                <c:pt idx="704">
                  <c:v>34.237499999999997</c:v>
                </c:pt>
                <c:pt idx="705">
                  <c:v>33.439500000000002</c:v>
                </c:pt>
                <c:pt idx="706">
                  <c:v>36.343299999999999</c:v>
                </c:pt>
                <c:pt idx="707">
                  <c:v>36.488300000000002</c:v>
                </c:pt>
                <c:pt idx="708">
                  <c:v>37.7712</c:v>
                </c:pt>
                <c:pt idx="709">
                  <c:v>37.512900000000002</c:v>
                </c:pt>
                <c:pt idx="710">
                  <c:v>37.3108</c:v>
                </c:pt>
                <c:pt idx="711">
                  <c:v>36.484499999999997</c:v>
                </c:pt>
                <c:pt idx="712">
                  <c:v>36.218699999999998</c:v>
                </c:pt>
                <c:pt idx="713">
                  <c:v>39.451999999999998</c:v>
                </c:pt>
                <c:pt idx="714">
                  <c:v>43.866999999999997</c:v>
                </c:pt>
                <c:pt idx="715">
                  <c:v>43.273699999999998</c:v>
                </c:pt>
                <c:pt idx="716">
                  <c:v>61.223300000000002</c:v>
                </c:pt>
                <c:pt idx="717">
                  <c:v>49.387500000000003</c:v>
                </c:pt>
                <c:pt idx="718">
                  <c:v>39.880000000000003</c:v>
                </c:pt>
                <c:pt idx="719">
                  <c:v>39.18</c:v>
                </c:pt>
                <c:pt idx="720">
                  <c:v>44.69</c:v>
                </c:pt>
                <c:pt idx="721">
                  <c:v>41.53</c:v>
                </c:pt>
                <c:pt idx="722">
                  <c:v>39.520000000000003</c:v>
                </c:pt>
                <c:pt idx="723">
                  <c:v>37.4</c:v>
                </c:pt>
                <c:pt idx="724">
                  <c:v>35.880000000000003</c:v>
                </c:pt>
                <c:pt idx="725">
                  <c:v>36.18</c:v>
                </c:pt>
                <c:pt idx="726">
                  <c:v>37.5</c:v>
                </c:pt>
                <c:pt idx="727">
                  <c:v>39.57</c:v>
                </c:pt>
                <c:pt idx="728">
                  <c:v>40.01</c:v>
                </c:pt>
                <c:pt idx="729">
                  <c:v>40.799999999999997</c:v>
                </c:pt>
                <c:pt idx="730">
                  <c:v>40.299999999999997</c:v>
                </c:pt>
                <c:pt idx="731">
                  <c:v>39.67</c:v>
                </c:pt>
                <c:pt idx="732">
                  <c:v>43</c:v>
                </c:pt>
                <c:pt idx="733">
                  <c:v>42.27</c:v>
                </c:pt>
                <c:pt idx="734">
                  <c:v>53.67</c:v>
                </c:pt>
                <c:pt idx="735">
                  <c:v>49.71</c:v>
                </c:pt>
                <c:pt idx="736">
                  <c:v>48.3</c:v>
                </c:pt>
                <c:pt idx="737">
                  <c:v>86.66</c:v>
                </c:pt>
                <c:pt idx="738">
                  <c:v>94.03</c:v>
                </c:pt>
                <c:pt idx="739">
                  <c:v>46.46</c:v>
                </c:pt>
                <c:pt idx="740">
                  <c:v>46.08</c:v>
                </c:pt>
                <c:pt idx="741">
                  <c:v>61.84</c:v>
                </c:pt>
                <c:pt idx="742">
                  <c:v>54.78</c:v>
                </c:pt>
                <c:pt idx="743">
                  <c:v>48.98</c:v>
                </c:pt>
                <c:pt idx="744">
                  <c:v>51.94</c:v>
                </c:pt>
                <c:pt idx="745">
                  <c:v>56.15</c:v>
                </c:pt>
                <c:pt idx="746">
                  <c:v>44.72</c:v>
                </c:pt>
                <c:pt idx="747">
                  <c:v>44.32</c:v>
                </c:pt>
                <c:pt idx="748">
                  <c:v>48.95</c:v>
                </c:pt>
                <c:pt idx="749">
                  <c:v>48.92</c:v>
                </c:pt>
                <c:pt idx="750">
                  <c:v>47.5</c:v>
                </c:pt>
                <c:pt idx="751">
                  <c:v>49.81</c:v>
                </c:pt>
                <c:pt idx="752">
                  <c:v>48.31</c:v>
                </c:pt>
                <c:pt idx="753">
                  <c:v>47.35</c:v>
                </c:pt>
                <c:pt idx="754">
                  <c:v>46.7</c:v>
                </c:pt>
                <c:pt idx="755">
                  <c:v>61.082000000000001</c:v>
                </c:pt>
                <c:pt idx="756">
                  <c:v>61.84</c:v>
                </c:pt>
                <c:pt idx="757">
                  <c:v>51.328299999999999</c:v>
                </c:pt>
                <c:pt idx="758">
                  <c:v>52.362000000000002</c:v>
                </c:pt>
                <c:pt idx="759">
                  <c:v>68.564099999999996</c:v>
                </c:pt>
                <c:pt idx="760">
                  <c:v>54.195799999999998</c:v>
                </c:pt>
                <c:pt idx="761">
                  <c:v>55.364100000000001</c:v>
                </c:pt>
                <c:pt idx="762">
                  <c:v>65.906599999999997</c:v>
                </c:pt>
                <c:pt idx="763">
                  <c:v>58.908700000000003</c:v>
                </c:pt>
                <c:pt idx="764">
                  <c:v>59.503700000000002</c:v>
                </c:pt>
                <c:pt idx="765">
                  <c:v>59.8337</c:v>
                </c:pt>
                <c:pt idx="766">
                  <c:v>55.809100000000001</c:v>
                </c:pt>
                <c:pt idx="767">
                  <c:v>51.102899999999998</c:v>
                </c:pt>
                <c:pt idx="768">
                  <c:v>51.399099999999997</c:v>
                </c:pt>
                <c:pt idx="769">
                  <c:v>58.95</c:v>
                </c:pt>
                <c:pt idx="770">
                  <c:v>60.15</c:v>
                </c:pt>
                <c:pt idx="771">
                  <c:v>57.97</c:v>
                </c:pt>
                <c:pt idx="772">
                  <c:v>61.71</c:v>
                </c:pt>
                <c:pt idx="773">
                  <c:v>61.94</c:v>
                </c:pt>
                <c:pt idx="774">
                  <c:v>59.47</c:v>
                </c:pt>
                <c:pt idx="775">
                  <c:v>59.54</c:v>
                </c:pt>
                <c:pt idx="776">
                  <c:v>67.09</c:v>
                </c:pt>
                <c:pt idx="777">
                  <c:v>63.54</c:v>
                </c:pt>
                <c:pt idx="778">
                  <c:v>63.84</c:v>
                </c:pt>
                <c:pt idx="779">
                  <c:v>66.63</c:v>
                </c:pt>
                <c:pt idx="780">
                  <c:v>70.400000000000006</c:v>
                </c:pt>
                <c:pt idx="781">
                  <c:v>73.7</c:v>
                </c:pt>
                <c:pt idx="782">
                  <c:v>82.01</c:v>
                </c:pt>
                <c:pt idx="783">
                  <c:v>134.80000000000001</c:v>
                </c:pt>
                <c:pt idx="784">
                  <c:v>98.08</c:v>
                </c:pt>
                <c:pt idx="785">
                  <c:v>92.7</c:v>
                </c:pt>
                <c:pt idx="786">
                  <c:v>88.7</c:v>
                </c:pt>
                <c:pt idx="787">
                  <c:v>78.39</c:v>
                </c:pt>
                <c:pt idx="788">
                  <c:v>64.94</c:v>
                </c:pt>
                <c:pt idx="789">
                  <c:v>62.87</c:v>
                </c:pt>
                <c:pt idx="790">
                  <c:v>68.22</c:v>
                </c:pt>
                <c:pt idx="791">
                  <c:v>72.64</c:v>
                </c:pt>
                <c:pt idx="792">
                  <c:v>72.03</c:v>
                </c:pt>
                <c:pt idx="793">
                  <c:v>71.84</c:v>
                </c:pt>
                <c:pt idx="794">
                  <c:v>69.89</c:v>
                </c:pt>
                <c:pt idx="795">
                  <c:v>70.42</c:v>
                </c:pt>
                <c:pt idx="796">
                  <c:v>65.180000000000007</c:v>
                </c:pt>
                <c:pt idx="797">
                  <c:v>69.09</c:v>
                </c:pt>
                <c:pt idx="798">
                  <c:v>67.430000000000007</c:v>
                </c:pt>
                <c:pt idx="799">
                  <c:v>63.08</c:v>
                </c:pt>
                <c:pt idx="800">
                  <c:v>60.31</c:v>
                </c:pt>
                <c:pt idx="801">
                  <c:v>58.74</c:v>
                </c:pt>
                <c:pt idx="802">
                  <c:v>55.64</c:v>
                </c:pt>
                <c:pt idx="803">
                  <c:v>55.43</c:v>
                </c:pt>
                <c:pt idx="804">
                  <c:v>60.4</c:v>
                </c:pt>
                <c:pt idx="805">
                  <c:v>59.12</c:v>
                </c:pt>
                <c:pt idx="806">
                  <c:v>55.92</c:v>
                </c:pt>
                <c:pt idx="807">
                  <c:v>52.48</c:v>
                </c:pt>
                <c:pt idx="808">
                  <c:v>50.01</c:v>
                </c:pt>
                <c:pt idx="809">
                  <c:v>49.01</c:v>
                </c:pt>
                <c:pt idx="810">
                  <c:v>49.67</c:v>
                </c:pt>
                <c:pt idx="811">
                  <c:v>53.34</c:v>
                </c:pt>
                <c:pt idx="812">
                  <c:v>50.8</c:v>
                </c:pt>
                <c:pt idx="813">
                  <c:v>49.57</c:v>
                </c:pt>
                <c:pt idx="814">
                  <c:v>47.36</c:v>
                </c:pt>
                <c:pt idx="815">
                  <c:v>46.19</c:v>
                </c:pt>
                <c:pt idx="816">
                  <c:v>44.31</c:v>
                </c:pt>
                <c:pt idx="817">
                  <c:v>44.29</c:v>
                </c:pt>
                <c:pt idx="818">
                  <c:v>45.49</c:v>
                </c:pt>
                <c:pt idx="819">
                  <c:v>44.88</c:v>
                </c:pt>
                <c:pt idx="820">
                  <c:v>44.85</c:v>
                </c:pt>
                <c:pt idx="821">
                  <c:v>44.94</c:v>
                </c:pt>
                <c:pt idx="822">
                  <c:v>44.52</c:v>
                </c:pt>
                <c:pt idx="823">
                  <c:v>44.01</c:v>
                </c:pt>
                <c:pt idx="824">
                  <c:v>44.36</c:v>
                </c:pt>
                <c:pt idx="825">
                  <c:v>44.957000000000001</c:v>
                </c:pt>
                <c:pt idx="826">
                  <c:v>49.084099999999999</c:v>
                </c:pt>
                <c:pt idx="827">
                  <c:v>47.825800000000001</c:v>
                </c:pt>
                <c:pt idx="828">
                  <c:v>47.413699999999999</c:v>
                </c:pt>
                <c:pt idx="829">
                  <c:v>47.091999999999999</c:v>
                </c:pt>
                <c:pt idx="830">
                  <c:v>46.314999999999998</c:v>
                </c:pt>
                <c:pt idx="831">
                  <c:v>46.2804</c:v>
                </c:pt>
                <c:pt idx="832">
                  <c:v>48.771999999999998</c:v>
                </c:pt>
                <c:pt idx="833">
                  <c:v>49.0854</c:v>
                </c:pt>
                <c:pt idx="834">
                  <c:v>48.45</c:v>
                </c:pt>
                <c:pt idx="835">
                  <c:v>47.705800000000004</c:v>
                </c:pt>
                <c:pt idx="836">
                  <c:v>46.094999999999999</c:v>
                </c:pt>
                <c:pt idx="837">
                  <c:v>45.320799999999998</c:v>
                </c:pt>
                <c:pt idx="838">
                  <c:v>44.855800000000002</c:v>
                </c:pt>
                <c:pt idx="839">
                  <c:v>48.034500000000001</c:v>
                </c:pt>
                <c:pt idx="840">
                  <c:v>47.094099999999997</c:v>
                </c:pt>
                <c:pt idx="841">
                  <c:v>46.998699999999999</c:v>
                </c:pt>
                <c:pt idx="842">
                  <c:v>47.543300000000002</c:v>
                </c:pt>
                <c:pt idx="843">
                  <c:v>47.8658</c:v>
                </c:pt>
                <c:pt idx="844">
                  <c:v>46.096200000000003</c:v>
                </c:pt>
                <c:pt idx="845">
                  <c:v>45.749099999999999</c:v>
                </c:pt>
                <c:pt idx="846">
                  <c:v>47.903300000000002</c:v>
                </c:pt>
                <c:pt idx="847">
                  <c:v>47.793700000000001</c:v>
                </c:pt>
                <c:pt idx="848">
                  <c:v>48.8337</c:v>
                </c:pt>
                <c:pt idx="849">
                  <c:v>48.139499999999998</c:v>
                </c:pt>
                <c:pt idx="850">
                  <c:v>46.8504</c:v>
                </c:pt>
                <c:pt idx="851">
                  <c:v>43.9895</c:v>
                </c:pt>
                <c:pt idx="852">
                  <c:v>46.335799999999999</c:v>
                </c:pt>
                <c:pt idx="853">
                  <c:v>51.180799999999998</c:v>
                </c:pt>
                <c:pt idx="854">
                  <c:v>50.593699999999998</c:v>
                </c:pt>
                <c:pt idx="855">
                  <c:v>50.709099999999999</c:v>
                </c:pt>
                <c:pt idx="856">
                  <c:v>50.643700000000003</c:v>
                </c:pt>
                <c:pt idx="857">
                  <c:v>50.1387</c:v>
                </c:pt>
                <c:pt idx="858">
                  <c:v>49.293700000000001</c:v>
                </c:pt>
                <c:pt idx="859">
                  <c:v>49.508699999999997</c:v>
                </c:pt>
                <c:pt idx="860">
                  <c:v>53.741599999999998</c:v>
                </c:pt>
                <c:pt idx="861">
                  <c:v>52.304099999999998</c:v>
                </c:pt>
                <c:pt idx="862">
                  <c:v>50.973300000000002</c:v>
                </c:pt>
                <c:pt idx="863">
                  <c:v>48.762500000000003</c:v>
                </c:pt>
                <c:pt idx="864">
                  <c:v>49.365400000000001</c:v>
                </c:pt>
                <c:pt idx="865">
                  <c:v>44.783700000000003</c:v>
                </c:pt>
                <c:pt idx="866">
                  <c:v>30.0425</c:v>
                </c:pt>
                <c:pt idx="867">
                  <c:v>43.354999999999997</c:v>
                </c:pt>
                <c:pt idx="868">
                  <c:v>45.719499999999996</c:v>
                </c:pt>
                <c:pt idx="869">
                  <c:v>38.9116</c:v>
                </c:pt>
                <c:pt idx="870">
                  <c:v>41.519500000000001</c:v>
                </c:pt>
                <c:pt idx="871">
                  <c:v>38.963299999999997</c:v>
                </c:pt>
                <c:pt idx="872">
                  <c:v>26.499500000000001</c:v>
                </c:pt>
                <c:pt idx="873">
                  <c:v>21.766200000000001</c:v>
                </c:pt>
                <c:pt idx="874">
                  <c:v>32.354999999999997</c:v>
                </c:pt>
                <c:pt idx="875">
                  <c:v>40.459499999999998</c:v>
                </c:pt>
                <c:pt idx="876">
                  <c:v>46.3795</c:v>
                </c:pt>
                <c:pt idx="877">
                  <c:v>45.2958</c:v>
                </c:pt>
                <c:pt idx="878">
                  <c:v>44.5045</c:v>
                </c:pt>
                <c:pt idx="879">
                  <c:v>35.378300000000003</c:v>
                </c:pt>
                <c:pt idx="880">
                  <c:v>20.6737</c:v>
                </c:pt>
                <c:pt idx="881">
                  <c:v>38.189500000000002</c:v>
                </c:pt>
                <c:pt idx="882">
                  <c:v>42.707000000000001</c:v>
                </c:pt>
                <c:pt idx="883">
                  <c:v>44.768700000000003</c:v>
                </c:pt>
                <c:pt idx="884">
                  <c:v>40.799500000000002</c:v>
                </c:pt>
                <c:pt idx="885">
                  <c:v>45.104500000000002</c:v>
                </c:pt>
                <c:pt idx="886">
                  <c:v>42.317</c:v>
                </c:pt>
                <c:pt idx="887">
                  <c:v>39.491999999999997</c:v>
                </c:pt>
                <c:pt idx="888">
                  <c:v>46.968699999999998</c:v>
                </c:pt>
                <c:pt idx="889">
                  <c:v>50.31</c:v>
                </c:pt>
                <c:pt idx="890">
                  <c:v>49.61</c:v>
                </c:pt>
                <c:pt idx="891">
                  <c:v>49.558700000000002</c:v>
                </c:pt>
                <c:pt idx="892">
                  <c:v>47.919499999999999</c:v>
                </c:pt>
                <c:pt idx="893">
                  <c:v>37.209499999999998</c:v>
                </c:pt>
                <c:pt idx="894">
                  <c:v>28.41</c:v>
                </c:pt>
                <c:pt idx="895">
                  <c:v>47.534100000000002</c:v>
                </c:pt>
                <c:pt idx="896">
                  <c:v>47.166600000000003</c:v>
                </c:pt>
                <c:pt idx="897">
                  <c:v>49.293700000000001</c:v>
                </c:pt>
                <c:pt idx="898">
                  <c:v>50.591999999999999</c:v>
                </c:pt>
                <c:pt idx="899">
                  <c:v>46.019500000000001</c:v>
                </c:pt>
                <c:pt idx="900">
                  <c:v>42.190399999999997</c:v>
                </c:pt>
                <c:pt idx="901">
                  <c:v>40.050800000000002</c:v>
                </c:pt>
                <c:pt idx="902">
                  <c:v>47.554099999999998</c:v>
                </c:pt>
                <c:pt idx="903">
                  <c:v>47.9</c:v>
                </c:pt>
                <c:pt idx="904">
                  <c:v>46.913699999999999</c:v>
                </c:pt>
                <c:pt idx="905">
                  <c:v>47.484099999999998</c:v>
                </c:pt>
                <c:pt idx="906">
                  <c:v>42.153300000000002</c:v>
                </c:pt>
                <c:pt idx="907">
                  <c:v>39.6691</c:v>
                </c:pt>
                <c:pt idx="908">
                  <c:v>39.304499999999997</c:v>
                </c:pt>
                <c:pt idx="909">
                  <c:v>47.527500000000003</c:v>
                </c:pt>
                <c:pt idx="910">
                  <c:v>47.247900000000001</c:v>
                </c:pt>
                <c:pt idx="911">
                  <c:v>49.057000000000002</c:v>
                </c:pt>
                <c:pt idx="912">
                  <c:v>50.122500000000002</c:v>
                </c:pt>
                <c:pt idx="913">
                  <c:v>49.62</c:v>
                </c:pt>
                <c:pt idx="914">
                  <c:v>45.311999999999998</c:v>
                </c:pt>
                <c:pt idx="915">
                  <c:v>46.058700000000002</c:v>
                </c:pt>
                <c:pt idx="916">
                  <c:v>49.2241</c:v>
                </c:pt>
                <c:pt idx="917">
                  <c:v>48.698300000000003</c:v>
                </c:pt>
                <c:pt idx="918">
                  <c:v>48.9895</c:v>
                </c:pt>
                <c:pt idx="919">
                  <c:v>49.075400000000002</c:v>
                </c:pt>
                <c:pt idx="920">
                  <c:v>49.7866</c:v>
                </c:pt>
                <c:pt idx="921">
                  <c:v>46.314999999999998</c:v>
                </c:pt>
                <c:pt idx="922">
                  <c:v>43.916200000000003</c:v>
                </c:pt>
                <c:pt idx="923">
                  <c:v>48.379100000000001</c:v>
                </c:pt>
                <c:pt idx="924">
                  <c:v>48.476999999999997</c:v>
                </c:pt>
                <c:pt idx="925">
                  <c:v>48.4</c:v>
                </c:pt>
                <c:pt idx="926">
                  <c:v>48.025799999999997</c:v>
                </c:pt>
                <c:pt idx="927">
                  <c:v>48.082000000000001</c:v>
                </c:pt>
                <c:pt idx="928">
                  <c:v>45.045000000000002</c:v>
                </c:pt>
                <c:pt idx="929">
                  <c:v>43.194099999999999</c:v>
                </c:pt>
                <c:pt idx="930">
                  <c:v>47.027500000000003</c:v>
                </c:pt>
                <c:pt idx="931">
                  <c:v>45.916200000000003</c:v>
                </c:pt>
                <c:pt idx="932">
                  <c:v>45.408299999999997</c:v>
                </c:pt>
                <c:pt idx="933">
                  <c:v>44.101599999999998</c:v>
                </c:pt>
                <c:pt idx="934">
                  <c:v>44.104100000000003</c:v>
                </c:pt>
                <c:pt idx="935">
                  <c:v>40.252899999999997</c:v>
                </c:pt>
                <c:pt idx="936">
                  <c:v>37.958300000000001</c:v>
                </c:pt>
                <c:pt idx="937">
                  <c:v>44.82</c:v>
                </c:pt>
                <c:pt idx="938">
                  <c:v>43.724499999999999</c:v>
                </c:pt>
                <c:pt idx="939">
                  <c:v>41.438699999999997</c:v>
                </c:pt>
                <c:pt idx="940">
                  <c:v>41.085799999999999</c:v>
                </c:pt>
                <c:pt idx="941">
                  <c:v>38.550800000000002</c:v>
                </c:pt>
                <c:pt idx="942">
                  <c:v>37.130400000000002</c:v>
                </c:pt>
                <c:pt idx="943">
                  <c:v>29.8887</c:v>
                </c:pt>
                <c:pt idx="944">
                  <c:v>41.735399999999998</c:v>
                </c:pt>
                <c:pt idx="945">
                  <c:v>40.884099999999997</c:v>
                </c:pt>
                <c:pt idx="946">
                  <c:v>40.086599999999997</c:v>
                </c:pt>
                <c:pt idx="947">
                  <c:v>39.808700000000002</c:v>
                </c:pt>
                <c:pt idx="948">
                  <c:v>40.269100000000002</c:v>
                </c:pt>
                <c:pt idx="949">
                  <c:v>36.096200000000003</c:v>
                </c:pt>
                <c:pt idx="950">
                  <c:v>31.008700000000001</c:v>
                </c:pt>
                <c:pt idx="951">
                  <c:v>42.792000000000002</c:v>
                </c:pt>
                <c:pt idx="952">
                  <c:v>43.804099999999998</c:v>
                </c:pt>
                <c:pt idx="953">
                  <c:v>43.755000000000003</c:v>
                </c:pt>
                <c:pt idx="954">
                  <c:v>44.677500000000002</c:v>
                </c:pt>
                <c:pt idx="955">
                  <c:v>44.466200000000001</c:v>
                </c:pt>
                <c:pt idx="956">
                  <c:v>42.330800000000004</c:v>
                </c:pt>
                <c:pt idx="957">
                  <c:v>40.588700000000003</c:v>
                </c:pt>
                <c:pt idx="958">
                  <c:v>44.757899999999999</c:v>
                </c:pt>
                <c:pt idx="959">
                  <c:v>46.603700000000003</c:v>
                </c:pt>
                <c:pt idx="960">
                  <c:v>46.080800000000004</c:v>
                </c:pt>
                <c:pt idx="961">
                  <c:v>44.759099999999997</c:v>
                </c:pt>
                <c:pt idx="962">
                  <c:v>44.838700000000003</c:v>
                </c:pt>
                <c:pt idx="963">
                  <c:v>42.834499999999998</c:v>
                </c:pt>
                <c:pt idx="964">
                  <c:v>42.744999999999997</c:v>
                </c:pt>
                <c:pt idx="965">
                  <c:v>45.436199999999999</c:v>
                </c:pt>
                <c:pt idx="966">
                  <c:v>44.409100000000002</c:v>
                </c:pt>
                <c:pt idx="967">
                  <c:v>44.264099999999999</c:v>
                </c:pt>
                <c:pt idx="968">
                  <c:v>45.988700000000001</c:v>
                </c:pt>
                <c:pt idx="969">
                  <c:v>46.903300000000002</c:v>
                </c:pt>
                <c:pt idx="970">
                  <c:v>45.430799999999998</c:v>
                </c:pt>
                <c:pt idx="971">
                  <c:v>45.041200000000003</c:v>
                </c:pt>
                <c:pt idx="972">
                  <c:v>48.143300000000004</c:v>
                </c:pt>
                <c:pt idx="973">
                  <c:v>49.177</c:v>
                </c:pt>
                <c:pt idx="974">
                  <c:v>49.367899999999999</c:v>
                </c:pt>
                <c:pt idx="975">
                  <c:v>49.603700000000003</c:v>
                </c:pt>
                <c:pt idx="976">
                  <c:v>49.658299999999997</c:v>
                </c:pt>
                <c:pt idx="977">
                  <c:v>49.4116</c:v>
                </c:pt>
                <c:pt idx="978">
                  <c:v>49.114100000000001</c:v>
                </c:pt>
                <c:pt idx="979">
                  <c:v>50.709499999999998</c:v>
                </c:pt>
                <c:pt idx="980">
                  <c:v>49.8125</c:v>
                </c:pt>
                <c:pt idx="981">
                  <c:v>49.474499999999999</c:v>
                </c:pt>
                <c:pt idx="982">
                  <c:v>49.900399999999998</c:v>
                </c:pt>
                <c:pt idx="983">
                  <c:v>49.7</c:v>
                </c:pt>
                <c:pt idx="984">
                  <c:v>47.354100000000003</c:v>
                </c:pt>
                <c:pt idx="985">
                  <c:v>47.601999999999997</c:v>
                </c:pt>
                <c:pt idx="986">
                  <c:v>50.8904</c:v>
                </c:pt>
                <c:pt idx="987">
                  <c:v>48.778700000000001</c:v>
                </c:pt>
                <c:pt idx="988">
                  <c:v>48.722000000000001</c:v>
                </c:pt>
                <c:pt idx="989">
                  <c:v>49.473700000000001</c:v>
                </c:pt>
                <c:pt idx="990">
                  <c:v>49.285400000000003</c:v>
                </c:pt>
                <c:pt idx="991">
                  <c:v>47.7804</c:v>
                </c:pt>
                <c:pt idx="992">
                  <c:v>47.231200000000001</c:v>
                </c:pt>
                <c:pt idx="993">
                  <c:v>49.508699999999997</c:v>
                </c:pt>
                <c:pt idx="994">
                  <c:v>50.671199999999999</c:v>
                </c:pt>
                <c:pt idx="995">
                  <c:v>51.091200000000001</c:v>
                </c:pt>
                <c:pt idx="996">
                  <c:v>50.393700000000003</c:v>
                </c:pt>
                <c:pt idx="997">
                  <c:v>50.082500000000003</c:v>
                </c:pt>
                <c:pt idx="998">
                  <c:v>48.077500000000001</c:v>
                </c:pt>
                <c:pt idx="999">
                  <c:v>47.908299999999997</c:v>
                </c:pt>
                <c:pt idx="1000">
                  <c:v>49.530799999999999</c:v>
                </c:pt>
                <c:pt idx="1001">
                  <c:v>49.761200000000002</c:v>
                </c:pt>
                <c:pt idx="1002">
                  <c:v>50.192</c:v>
                </c:pt>
                <c:pt idx="1003">
                  <c:v>50.004100000000001</c:v>
                </c:pt>
                <c:pt idx="1004">
                  <c:v>49.863700000000001</c:v>
                </c:pt>
                <c:pt idx="1005">
                  <c:v>47.1554</c:v>
                </c:pt>
                <c:pt idx="1006">
                  <c:v>46.837000000000003</c:v>
                </c:pt>
                <c:pt idx="1007">
                  <c:v>48.042900000000003</c:v>
                </c:pt>
                <c:pt idx="1008">
                  <c:v>48.891199999999998</c:v>
                </c:pt>
                <c:pt idx="1009">
                  <c:v>48.638300000000001</c:v>
                </c:pt>
                <c:pt idx="1010">
                  <c:v>48.803699999999999</c:v>
                </c:pt>
                <c:pt idx="1011">
                  <c:v>48.8491</c:v>
                </c:pt>
                <c:pt idx="1012">
                  <c:v>46.3504</c:v>
                </c:pt>
                <c:pt idx="1013">
                  <c:v>47.017499999999998</c:v>
                </c:pt>
                <c:pt idx="1014">
                  <c:v>49.715800000000002</c:v>
                </c:pt>
                <c:pt idx="1015">
                  <c:v>50.883299999999998</c:v>
                </c:pt>
                <c:pt idx="1016">
                  <c:v>51.291600000000003</c:v>
                </c:pt>
                <c:pt idx="1017">
                  <c:v>51.302500000000002</c:v>
                </c:pt>
                <c:pt idx="1018">
                  <c:v>52.219099999999997</c:v>
                </c:pt>
                <c:pt idx="1019">
                  <c:v>49.9041</c:v>
                </c:pt>
                <c:pt idx="1020">
                  <c:v>50.057899999999997</c:v>
                </c:pt>
                <c:pt idx="1021">
                  <c:v>51.335000000000001</c:v>
                </c:pt>
                <c:pt idx="1022">
                  <c:v>51.167499999999997</c:v>
                </c:pt>
                <c:pt idx="1023">
                  <c:v>51.185400000000001</c:v>
                </c:pt>
                <c:pt idx="1024">
                  <c:v>51.91</c:v>
                </c:pt>
                <c:pt idx="1025">
                  <c:v>51.7637</c:v>
                </c:pt>
                <c:pt idx="1026">
                  <c:v>49.8125</c:v>
                </c:pt>
                <c:pt idx="1027">
                  <c:v>49.217500000000001</c:v>
                </c:pt>
                <c:pt idx="1028">
                  <c:v>53.063699999999997</c:v>
                </c:pt>
                <c:pt idx="1029">
                  <c:v>53.088700000000003</c:v>
                </c:pt>
                <c:pt idx="1030">
                  <c:v>50.76</c:v>
                </c:pt>
                <c:pt idx="1031">
                  <c:v>47.097499999999997</c:v>
                </c:pt>
                <c:pt idx="1032">
                  <c:v>48.978700000000003</c:v>
                </c:pt>
                <c:pt idx="1033">
                  <c:v>47.23</c:v>
                </c:pt>
                <c:pt idx="1034">
                  <c:v>46.994799999999998</c:v>
                </c:pt>
                <c:pt idx="1035">
                  <c:v>48.590400000000002</c:v>
                </c:pt>
                <c:pt idx="1036">
                  <c:v>48.682000000000002</c:v>
                </c:pt>
                <c:pt idx="1037">
                  <c:v>46.826999999999998</c:v>
                </c:pt>
                <c:pt idx="1038">
                  <c:v>47.817900000000002</c:v>
                </c:pt>
                <c:pt idx="1039">
                  <c:v>48.155799999999999</c:v>
                </c:pt>
                <c:pt idx="1040">
                  <c:v>47.715000000000003</c:v>
                </c:pt>
                <c:pt idx="1041">
                  <c:v>48.646599999999999</c:v>
                </c:pt>
                <c:pt idx="1042">
                  <c:v>51.139499999999998</c:v>
                </c:pt>
                <c:pt idx="1043">
                  <c:v>50.528300000000002</c:v>
                </c:pt>
                <c:pt idx="1044">
                  <c:v>51.369100000000003</c:v>
                </c:pt>
                <c:pt idx="1045">
                  <c:v>49.589500000000001</c:v>
                </c:pt>
                <c:pt idx="1046">
                  <c:v>48.751199999999997</c:v>
                </c:pt>
                <c:pt idx="1047">
                  <c:v>48.632899999999999</c:v>
                </c:pt>
                <c:pt idx="1048">
                  <c:v>48.833300000000001</c:v>
                </c:pt>
                <c:pt idx="1049">
                  <c:v>51.953699999999998</c:v>
                </c:pt>
                <c:pt idx="1050">
                  <c:v>55.0608</c:v>
                </c:pt>
                <c:pt idx="1051">
                  <c:v>54.262500000000003</c:v>
                </c:pt>
                <c:pt idx="1052">
                  <c:v>54.738700000000001</c:v>
                </c:pt>
                <c:pt idx="1053">
                  <c:v>56.259099999999997</c:v>
                </c:pt>
                <c:pt idx="1054">
                  <c:v>55.722000000000001</c:v>
                </c:pt>
                <c:pt idx="1055">
                  <c:v>54.955399999999997</c:v>
                </c:pt>
                <c:pt idx="1056">
                  <c:v>57.621200000000002</c:v>
                </c:pt>
                <c:pt idx="1057">
                  <c:v>57.804499999999997</c:v>
                </c:pt>
                <c:pt idx="1058">
                  <c:v>60.406999999999996</c:v>
                </c:pt>
                <c:pt idx="1059">
                  <c:v>66.613299999999995</c:v>
                </c:pt>
                <c:pt idx="1060">
                  <c:v>71.8108</c:v>
                </c:pt>
                <c:pt idx="1061">
                  <c:v>60.9437</c:v>
                </c:pt>
                <c:pt idx="1062">
                  <c:v>60.307899999999997</c:v>
                </c:pt>
                <c:pt idx="1063">
                  <c:v>64.834500000000006</c:v>
                </c:pt>
                <c:pt idx="1064">
                  <c:v>74.788700000000006</c:v>
                </c:pt>
                <c:pt idx="1065">
                  <c:v>75.9512</c:v>
                </c:pt>
                <c:pt idx="1066">
                  <c:v>74.917900000000003</c:v>
                </c:pt>
                <c:pt idx="1067">
                  <c:v>76.055000000000007</c:v>
                </c:pt>
                <c:pt idx="1068">
                  <c:v>63.355400000000003</c:v>
                </c:pt>
                <c:pt idx="1069">
                  <c:v>63.339500000000001</c:v>
                </c:pt>
                <c:pt idx="1070">
                  <c:v>74.597899999999996</c:v>
                </c:pt>
                <c:pt idx="1071">
                  <c:v>83.742000000000004</c:v>
                </c:pt>
                <c:pt idx="1072">
                  <c:v>81.758700000000005</c:v>
                </c:pt>
                <c:pt idx="1073">
                  <c:v>74.061199999999999</c:v>
                </c:pt>
                <c:pt idx="1074">
                  <c:v>80.387</c:v>
                </c:pt>
                <c:pt idx="1075">
                  <c:v>72.763300000000001</c:v>
                </c:pt>
                <c:pt idx="1076">
                  <c:v>76.420400000000001</c:v>
                </c:pt>
                <c:pt idx="1077">
                  <c:v>102.6258</c:v>
                </c:pt>
                <c:pt idx="1078">
                  <c:v>103.2512</c:v>
                </c:pt>
                <c:pt idx="1079">
                  <c:v>95.072900000000004</c:v>
                </c:pt>
                <c:pt idx="1080">
                  <c:v>76.221599999999995</c:v>
                </c:pt>
                <c:pt idx="1081">
                  <c:v>78.882000000000005</c:v>
                </c:pt>
                <c:pt idx="1082">
                  <c:v>75.790400000000005</c:v>
                </c:pt>
                <c:pt idx="1083">
                  <c:v>78.999499999999998</c:v>
                </c:pt>
                <c:pt idx="1084">
                  <c:v>89.891599999999997</c:v>
                </c:pt>
                <c:pt idx="1085">
                  <c:v>92.829099999999997</c:v>
                </c:pt>
                <c:pt idx="1086">
                  <c:v>97.137500000000003</c:v>
                </c:pt>
                <c:pt idx="1087">
                  <c:v>83.736999999999995</c:v>
                </c:pt>
                <c:pt idx="1088">
                  <c:v>75.630799999999994</c:v>
                </c:pt>
                <c:pt idx="1089">
                  <c:v>77.951999999999998</c:v>
                </c:pt>
                <c:pt idx="1090">
                  <c:v>79.861999999999995</c:v>
                </c:pt>
                <c:pt idx="1091">
                  <c:v>85.054100000000005</c:v>
                </c:pt>
                <c:pt idx="1092">
                  <c:v>84.962900000000005</c:v>
                </c:pt>
                <c:pt idx="1093">
                  <c:v>88.237499999999997</c:v>
                </c:pt>
                <c:pt idx="1094">
                  <c:v>86.057000000000002</c:v>
                </c:pt>
                <c:pt idx="1095">
                  <c:v>81.611599999999996</c:v>
                </c:pt>
                <c:pt idx="1096">
                  <c:v>76.484099999999998</c:v>
                </c:pt>
                <c:pt idx="1097">
                  <c:v>82.31</c:v>
                </c:pt>
                <c:pt idx="1098">
                  <c:v>87.43</c:v>
                </c:pt>
                <c:pt idx="1099">
                  <c:v>85.11</c:v>
                </c:pt>
                <c:pt idx="1100">
                  <c:v>81.62</c:v>
                </c:pt>
                <c:pt idx="1101">
                  <c:v>77.819999999999993</c:v>
                </c:pt>
                <c:pt idx="1102">
                  <c:v>79.05</c:v>
                </c:pt>
                <c:pt idx="1103">
                  <c:v>75.239999999999995</c:v>
                </c:pt>
                <c:pt idx="1104">
                  <c:v>72.430000000000007</c:v>
                </c:pt>
                <c:pt idx="1105">
                  <c:v>72.959999999999994</c:v>
                </c:pt>
                <c:pt idx="1106">
                  <c:v>71.989999999999995</c:v>
                </c:pt>
                <c:pt idx="1107">
                  <c:v>71.569999999999993</c:v>
                </c:pt>
                <c:pt idx="1108">
                  <c:v>71.41</c:v>
                </c:pt>
                <c:pt idx="1109">
                  <c:v>69.12</c:v>
                </c:pt>
                <c:pt idx="1110">
                  <c:v>67.13</c:v>
                </c:pt>
                <c:pt idx="1111">
                  <c:v>65.83</c:v>
                </c:pt>
                <c:pt idx="1112">
                  <c:v>66.19</c:v>
                </c:pt>
                <c:pt idx="1113">
                  <c:v>65.680000000000007</c:v>
                </c:pt>
                <c:pt idx="1114">
                  <c:v>64.930000000000007</c:v>
                </c:pt>
                <c:pt idx="1115">
                  <c:v>64.45</c:v>
                </c:pt>
                <c:pt idx="1116">
                  <c:v>63.88</c:v>
                </c:pt>
                <c:pt idx="1117">
                  <c:v>62</c:v>
                </c:pt>
                <c:pt idx="1118">
                  <c:v>61.69</c:v>
                </c:pt>
                <c:pt idx="1119">
                  <c:v>63.56</c:v>
                </c:pt>
                <c:pt idx="1120">
                  <c:v>62.52</c:v>
                </c:pt>
                <c:pt idx="1121">
                  <c:v>64.25</c:v>
                </c:pt>
                <c:pt idx="1122">
                  <c:v>64.17</c:v>
                </c:pt>
                <c:pt idx="1123">
                  <c:v>62.89</c:v>
                </c:pt>
                <c:pt idx="1124">
                  <c:v>60.55</c:v>
                </c:pt>
                <c:pt idx="1125">
                  <c:v>61.14</c:v>
                </c:pt>
                <c:pt idx="1126">
                  <c:v>62.75</c:v>
                </c:pt>
                <c:pt idx="1127">
                  <c:v>60.92</c:v>
                </c:pt>
                <c:pt idx="1128">
                  <c:v>59.83</c:v>
                </c:pt>
                <c:pt idx="1129">
                  <c:v>58.81</c:v>
                </c:pt>
                <c:pt idx="1130">
                  <c:v>58.86</c:v>
                </c:pt>
                <c:pt idx="1131">
                  <c:v>59.81</c:v>
                </c:pt>
                <c:pt idx="1132">
                  <c:v>61.7</c:v>
                </c:pt>
                <c:pt idx="1133">
                  <c:v>62.56</c:v>
                </c:pt>
                <c:pt idx="1134">
                  <c:v>63.18</c:v>
                </c:pt>
                <c:pt idx="1135">
                  <c:v>64.290000000000006</c:v>
                </c:pt>
                <c:pt idx="1136">
                  <c:v>63.93</c:v>
                </c:pt>
                <c:pt idx="1137">
                  <c:v>63.05</c:v>
                </c:pt>
                <c:pt idx="1138">
                  <c:v>63.64</c:v>
                </c:pt>
                <c:pt idx="1139">
                  <c:v>64.12</c:v>
                </c:pt>
                <c:pt idx="1140">
                  <c:v>65.23</c:v>
                </c:pt>
                <c:pt idx="1141">
                  <c:v>65.97</c:v>
                </c:pt>
                <c:pt idx="1142">
                  <c:v>65.92</c:v>
                </c:pt>
                <c:pt idx="1143">
                  <c:v>66.489999999999995</c:v>
                </c:pt>
                <c:pt idx="1144">
                  <c:v>66.55</c:v>
                </c:pt>
                <c:pt idx="1145">
                  <c:v>65.91</c:v>
                </c:pt>
                <c:pt idx="1146">
                  <c:v>66.27</c:v>
                </c:pt>
                <c:pt idx="1147">
                  <c:v>68.36</c:v>
                </c:pt>
                <c:pt idx="1148">
                  <c:v>67.94</c:v>
                </c:pt>
                <c:pt idx="1149">
                  <c:v>68.760000000000005</c:v>
                </c:pt>
                <c:pt idx="1150">
                  <c:v>68.959999999999994</c:v>
                </c:pt>
                <c:pt idx="1151">
                  <c:v>67.349999999999994</c:v>
                </c:pt>
                <c:pt idx="1152">
                  <c:v>64.77</c:v>
                </c:pt>
                <c:pt idx="1153">
                  <c:v>64.64</c:v>
                </c:pt>
                <c:pt idx="1154">
                  <c:v>67.180000000000007</c:v>
                </c:pt>
                <c:pt idx="1155">
                  <c:v>66.36</c:v>
                </c:pt>
                <c:pt idx="1156">
                  <c:v>65.47</c:v>
                </c:pt>
                <c:pt idx="1157">
                  <c:v>64.69</c:v>
                </c:pt>
                <c:pt idx="1158">
                  <c:v>64.05</c:v>
                </c:pt>
                <c:pt idx="1159">
                  <c:v>62.44</c:v>
                </c:pt>
                <c:pt idx="1160">
                  <c:v>63.05</c:v>
                </c:pt>
                <c:pt idx="1161">
                  <c:v>63.75</c:v>
                </c:pt>
                <c:pt idx="1162">
                  <c:v>62.72</c:v>
                </c:pt>
                <c:pt idx="1163">
                  <c:v>62.7</c:v>
                </c:pt>
                <c:pt idx="1164">
                  <c:v>61.59</c:v>
                </c:pt>
                <c:pt idx="1165">
                  <c:v>62.13</c:v>
                </c:pt>
                <c:pt idx="1166">
                  <c:v>61.72</c:v>
                </c:pt>
                <c:pt idx="1167">
                  <c:v>61.89</c:v>
                </c:pt>
                <c:pt idx="1168">
                  <c:v>63.98</c:v>
                </c:pt>
                <c:pt idx="1169">
                  <c:v>63.23</c:v>
                </c:pt>
                <c:pt idx="1170">
                  <c:v>65.319999999999993</c:v>
                </c:pt>
                <c:pt idx="1171">
                  <c:v>67.83</c:v>
                </c:pt>
                <c:pt idx="1172">
                  <c:v>68.56</c:v>
                </c:pt>
                <c:pt idx="1173">
                  <c:v>67.41</c:v>
                </c:pt>
                <c:pt idx="1174">
                  <c:v>66.83</c:v>
                </c:pt>
                <c:pt idx="1175">
                  <c:v>66.58</c:v>
                </c:pt>
                <c:pt idx="1176">
                  <c:v>65.3</c:v>
                </c:pt>
                <c:pt idx="1177">
                  <c:v>63.97</c:v>
                </c:pt>
                <c:pt idx="1178">
                  <c:v>63.23</c:v>
                </c:pt>
                <c:pt idx="1179">
                  <c:v>63.87</c:v>
                </c:pt>
                <c:pt idx="1180">
                  <c:v>63.6</c:v>
                </c:pt>
                <c:pt idx="1181">
                  <c:v>62.85</c:v>
                </c:pt>
                <c:pt idx="1182">
                  <c:v>64.540000000000006</c:v>
                </c:pt>
                <c:pt idx="1183">
                  <c:v>63.95</c:v>
                </c:pt>
                <c:pt idx="1184">
                  <c:v>64.430000000000007</c:v>
                </c:pt>
                <c:pt idx="1185">
                  <c:v>62.7</c:v>
                </c:pt>
                <c:pt idx="1186">
                  <c:v>62</c:v>
                </c:pt>
                <c:pt idx="1187">
                  <c:v>61.74</c:v>
                </c:pt>
                <c:pt idx="1188">
                  <c:v>61.13</c:v>
                </c:pt>
                <c:pt idx="1189">
                  <c:v>63.55</c:v>
                </c:pt>
                <c:pt idx="1190">
                  <c:v>60.46</c:v>
                </c:pt>
                <c:pt idx="1191">
                  <c:v>58.67</c:v>
                </c:pt>
                <c:pt idx="1192">
                  <c:v>56.78</c:v>
                </c:pt>
                <c:pt idx="1193">
                  <c:v>54.89</c:v>
                </c:pt>
                <c:pt idx="1194">
                  <c:v>53.29</c:v>
                </c:pt>
                <c:pt idx="1195">
                  <c:v>54.65</c:v>
                </c:pt>
                <c:pt idx="1196">
                  <c:v>57.87</c:v>
                </c:pt>
                <c:pt idx="1197">
                  <c:v>56.65</c:v>
                </c:pt>
                <c:pt idx="1198">
                  <c:v>57.05</c:v>
                </c:pt>
                <c:pt idx="1199">
                  <c:v>57.87</c:v>
                </c:pt>
                <c:pt idx="1200">
                  <c:v>56.87</c:v>
                </c:pt>
                <c:pt idx="1201">
                  <c:v>53.54</c:v>
                </c:pt>
                <c:pt idx="1202">
                  <c:v>50.1</c:v>
                </c:pt>
                <c:pt idx="1203">
                  <c:v>55.31</c:v>
                </c:pt>
                <c:pt idx="1204">
                  <c:v>55.34</c:v>
                </c:pt>
                <c:pt idx="1205">
                  <c:v>53.62</c:v>
                </c:pt>
                <c:pt idx="1206">
                  <c:v>51.75</c:v>
                </c:pt>
                <c:pt idx="1207">
                  <c:v>49.09</c:v>
                </c:pt>
                <c:pt idx="1208">
                  <c:v>47.68</c:v>
                </c:pt>
                <c:pt idx="1209">
                  <c:v>33.630000000000003</c:v>
                </c:pt>
                <c:pt idx="1210">
                  <c:v>36.17</c:v>
                </c:pt>
                <c:pt idx="1211">
                  <c:v>51.3</c:v>
                </c:pt>
                <c:pt idx="1212">
                  <c:v>53.64</c:v>
                </c:pt>
                <c:pt idx="1213">
                  <c:v>52.79</c:v>
                </c:pt>
                <c:pt idx="1214">
                  <c:v>50.84</c:v>
                </c:pt>
                <c:pt idx="1215">
                  <c:v>47.05</c:v>
                </c:pt>
                <c:pt idx="1216">
                  <c:v>46.32</c:v>
                </c:pt>
                <c:pt idx="1217">
                  <c:v>55.88</c:v>
                </c:pt>
                <c:pt idx="1218">
                  <c:v>58.32</c:v>
                </c:pt>
                <c:pt idx="1219">
                  <c:v>59.13</c:v>
                </c:pt>
                <c:pt idx="1220">
                  <c:v>59.73</c:v>
                </c:pt>
                <c:pt idx="1221">
                  <c:v>58.31</c:v>
                </c:pt>
                <c:pt idx="1222">
                  <c:v>54.68</c:v>
                </c:pt>
                <c:pt idx="1223">
                  <c:v>52.94</c:v>
                </c:pt>
                <c:pt idx="1224">
                  <c:v>55.98</c:v>
                </c:pt>
                <c:pt idx="1225">
                  <c:v>56.29</c:v>
                </c:pt>
                <c:pt idx="1226">
                  <c:v>57.56</c:v>
                </c:pt>
                <c:pt idx="1227">
                  <c:v>57.71</c:v>
                </c:pt>
                <c:pt idx="1228">
                  <c:v>56.55</c:v>
                </c:pt>
                <c:pt idx="1229">
                  <c:v>55.43</c:v>
                </c:pt>
                <c:pt idx="1230">
                  <c:v>54.04</c:v>
                </c:pt>
                <c:pt idx="1231">
                  <c:v>55.55</c:v>
                </c:pt>
                <c:pt idx="1232">
                  <c:v>54.15</c:v>
                </c:pt>
                <c:pt idx="1233">
                  <c:v>54.82</c:v>
                </c:pt>
                <c:pt idx="1234">
                  <c:v>53.75</c:v>
                </c:pt>
                <c:pt idx="1235">
                  <c:v>53.89</c:v>
                </c:pt>
                <c:pt idx="1236">
                  <c:v>53.19</c:v>
                </c:pt>
                <c:pt idx="1237">
                  <c:v>52.51</c:v>
                </c:pt>
                <c:pt idx="1238">
                  <c:v>53.53</c:v>
                </c:pt>
                <c:pt idx="1239">
                  <c:v>52.06</c:v>
                </c:pt>
                <c:pt idx="1240">
                  <c:v>53.12</c:v>
                </c:pt>
                <c:pt idx="1241">
                  <c:v>53.52</c:v>
                </c:pt>
                <c:pt idx="1242">
                  <c:v>52.72</c:v>
                </c:pt>
                <c:pt idx="1243">
                  <c:v>51.22</c:v>
                </c:pt>
                <c:pt idx="1244">
                  <c:v>48.2</c:v>
                </c:pt>
                <c:pt idx="1245">
                  <c:v>53.19</c:v>
                </c:pt>
                <c:pt idx="1246">
                  <c:v>55.02</c:v>
                </c:pt>
                <c:pt idx="1247">
                  <c:v>54.67</c:v>
                </c:pt>
                <c:pt idx="1248">
                  <c:v>51.86</c:v>
                </c:pt>
                <c:pt idx="1249">
                  <c:v>52.79</c:v>
                </c:pt>
                <c:pt idx="1250">
                  <c:v>50.49</c:v>
                </c:pt>
                <c:pt idx="1251">
                  <c:v>48.78</c:v>
                </c:pt>
                <c:pt idx="1252">
                  <c:v>51.59</c:v>
                </c:pt>
                <c:pt idx="1253">
                  <c:v>56.2</c:v>
                </c:pt>
                <c:pt idx="1254">
                  <c:v>54.83</c:v>
                </c:pt>
                <c:pt idx="1255">
                  <c:v>52.38</c:v>
                </c:pt>
                <c:pt idx="1256">
                  <c:v>52.6</c:v>
                </c:pt>
                <c:pt idx="1257">
                  <c:v>50.4</c:v>
                </c:pt>
                <c:pt idx="1258">
                  <c:v>47.86</c:v>
                </c:pt>
                <c:pt idx="1259">
                  <c:v>49.92</c:v>
                </c:pt>
                <c:pt idx="1260">
                  <c:v>53.5</c:v>
                </c:pt>
                <c:pt idx="1261">
                  <c:v>53.83</c:v>
                </c:pt>
                <c:pt idx="1262">
                  <c:v>53</c:v>
                </c:pt>
                <c:pt idx="1263">
                  <c:v>50.97</c:v>
                </c:pt>
                <c:pt idx="1264">
                  <c:v>46.24</c:v>
                </c:pt>
                <c:pt idx="1265">
                  <c:v>32.020000000000003</c:v>
                </c:pt>
                <c:pt idx="1266">
                  <c:v>42.87</c:v>
                </c:pt>
                <c:pt idx="1267">
                  <c:v>50.17</c:v>
                </c:pt>
                <c:pt idx="1268">
                  <c:v>50.03</c:v>
                </c:pt>
                <c:pt idx="1269">
                  <c:v>43.01</c:v>
                </c:pt>
                <c:pt idx="1270">
                  <c:v>42.32</c:v>
                </c:pt>
                <c:pt idx="1271">
                  <c:v>39.35</c:v>
                </c:pt>
                <c:pt idx="1272">
                  <c:v>39.5</c:v>
                </c:pt>
                <c:pt idx="1273">
                  <c:v>47.49</c:v>
                </c:pt>
                <c:pt idx="1274">
                  <c:v>44.97</c:v>
                </c:pt>
                <c:pt idx="1275">
                  <c:v>45.33</c:v>
                </c:pt>
                <c:pt idx="1276">
                  <c:v>43.1</c:v>
                </c:pt>
                <c:pt idx="1277">
                  <c:v>40.06</c:v>
                </c:pt>
                <c:pt idx="1278">
                  <c:v>36.46</c:v>
                </c:pt>
                <c:pt idx="1279">
                  <c:v>28.98</c:v>
                </c:pt>
                <c:pt idx="1280">
                  <c:v>43.12</c:v>
                </c:pt>
                <c:pt idx="1281">
                  <c:v>44.21</c:v>
                </c:pt>
                <c:pt idx="1282">
                  <c:v>43.86</c:v>
                </c:pt>
                <c:pt idx="1283">
                  <c:v>45.19</c:v>
                </c:pt>
                <c:pt idx="1284">
                  <c:v>44.7</c:v>
                </c:pt>
                <c:pt idx="1285">
                  <c:v>42.74</c:v>
                </c:pt>
                <c:pt idx="1286">
                  <c:v>40.799999999999997</c:v>
                </c:pt>
                <c:pt idx="1287">
                  <c:v>44.93</c:v>
                </c:pt>
                <c:pt idx="1288">
                  <c:v>45.08</c:v>
                </c:pt>
                <c:pt idx="1289">
                  <c:v>43.6</c:v>
                </c:pt>
                <c:pt idx="1290">
                  <c:v>42.59</c:v>
                </c:pt>
                <c:pt idx="1291">
                  <c:v>41.84</c:v>
                </c:pt>
                <c:pt idx="1292">
                  <c:v>41.96</c:v>
                </c:pt>
                <c:pt idx="1293">
                  <c:v>34.39</c:v>
                </c:pt>
                <c:pt idx="1294">
                  <c:v>38.840000000000003</c:v>
                </c:pt>
                <c:pt idx="1295">
                  <c:v>42.06</c:v>
                </c:pt>
                <c:pt idx="1296">
                  <c:v>42.77</c:v>
                </c:pt>
                <c:pt idx="1297">
                  <c:v>42.45</c:v>
                </c:pt>
                <c:pt idx="1298">
                  <c:v>39.21</c:v>
                </c:pt>
                <c:pt idx="1299">
                  <c:v>26.75</c:v>
                </c:pt>
                <c:pt idx="1300">
                  <c:v>19.46</c:v>
                </c:pt>
                <c:pt idx="1301">
                  <c:v>34.18</c:v>
                </c:pt>
                <c:pt idx="1302">
                  <c:v>37.200000000000003</c:v>
                </c:pt>
                <c:pt idx="1303">
                  <c:v>35.729999999999997</c:v>
                </c:pt>
                <c:pt idx="1304">
                  <c:v>32.729999999999997</c:v>
                </c:pt>
                <c:pt idx="1305">
                  <c:v>35.6</c:v>
                </c:pt>
                <c:pt idx="1306">
                  <c:v>35.36</c:v>
                </c:pt>
                <c:pt idx="1307">
                  <c:v>35.36</c:v>
                </c:pt>
                <c:pt idx="1308">
                  <c:v>41.08</c:v>
                </c:pt>
                <c:pt idx="1309">
                  <c:v>41.04</c:v>
                </c:pt>
                <c:pt idx="1310">
                  <c:v>40.090000000000003</c:v>
                </c:pt>
                <c:pt idx="1311">
                  <c:v>39.56</c:v>
                </c:pt>
                <c:pt idx="1312">
                  <c:v>38.99</c:v>
                </c:pt>
                <c:pt idx="1313">
                  <c:v>36.44</c:v>
                </c:pt>
                <c:pt idx="1314">
                  <c:v>28.41</c:v>
                </c:pt>
                <c:pt idx="1315">
                  <c:v>38.25</c:v>
                </c:pt>
                <c:pt idx="1316">
                  <c:v>36.380000000000003</c:v>
                </c:pt>
                <c:pt idx="1317">
                  <c:v>33.75</c:v>
                </c:pt>
                <c:pt idx="1318">
                  <c:v>34.369999999999997</c:v>
                </c:pt>
                <c:pt idx="1319">
                  <c:v>36.47</c:v>
                </c:pt>
                <c:pt idx="1320">
                  <c:v>34.380000000000003</c:v>
                </c:pt>
                <c:pt idx="1321">
                  <c:v>34.799999999999997</c:v>
                </c:pt>
                <c:pt idx="1322">
                  <c:v>40.6</c:v>
                </c:pt>
                <c:pt idx="1323">
                  <c:v>43.03</c:v>
                </c:pt>
                <c:pt idx="1324">
                  <c:v>42.63</c:v>
                </c:pt>
                <c:pt idx="1325">
                  <c:v>44.02</c:v>
                </c:pt>
                <c:pt idx="1326">
                  <c:v>43.69</c:v>
                </c:pt>
                <c:pt idx="1327">
                  <c:v>40.04</c:v>
                </c:pt>
                <c:pt idx="1328">
                  <c:v>41.39</c:v>
                </c:pt>
                <c:pt idx="1329">
                  <c:v>45.53</c:v>
                </c:pt>
                <c:pt idx="1330">
                  <c:v>44.49</c:v>
                </c:pt>
                <c:pt idx="1331">
                  <c:v>43.27</c:v>
                </c:pt>
                <c:pt idx="1332">
                  <c:v>43.56</c:v>
                </c:pt>
                <c:pt idx="1333">
                  <c:v>43.08</c:v>
                </c:pt>
                <c:pt idx="1334">
                  <c:v>42.78</c:v>
                </c:pt>
                <c:pt idx="1335">
                  <c:v>39.57</c:v>
                </c:pt>
                <c:pt idx="1336">
                  <c:v>42.91</c:v>
                </c:pt>
                <c:pt idx="1337">
                  <c:v>44.25</c:v>
                </c:pt>
                <c:pt idx="1338">
                  <c:v>45.46</c:v>
                </c:pt>
                <c:pt idx="1339">
                  <c:v>45.64</c:v>
                </c:pt>
                <c:pt idx="1340">
                  <c:v>45.3</c:v>
                </c:pt>
                <c:pt idx="1341">
                  <c:v>43.94</c:v>
                </c:pt>
                <c:pt idx="1342">
                  <c:v>42.1</c:v>
                </c:pt>
                <c:pt idx="1343">
                  <c:v>44.18</c:v>
                </c:pt>
                <c:pt idx="1344">
                  <c:v>40.130000000000003</c:v>
                </c:pt>
                <c:pt idx="1345">
                  <c:v>35.58</c:v>
                </c:pt>
                <c:pt idx="1346">
                  <c:v>37.28</c:v>
                </c:pt>
                <c:pt idx="1347">
                  <c:v>37</c:v>
                </c:pt>
                <c:pt idx="1348">
                  <c:v>32.19</c:v>
                </c:pt>
                <c:pt idx="1349">
                  <c:v>24.03</c:v>
                </c:pt>
                <c:pt idx="1350">
                  <c:v>29.18</c:v>
                </c:pt>
                <c:pt idx="1351">
                  <c:v>23.13</c:v>
                </c:pt>
                <c:pt idx="1352">
                  <c:v>21.54</c:v>
                </c:pt>
                <c:pt idx="1353">
                  <c:v>13.32</c:v>
                </c:pt>
                <c:pt idx="1354">
                  <c:v>17.91</c:v>
                </c:pt>
                <c:pt idx="1355">
                  <c:v>8.1199999999999992</c:v>
                </c:pt>
                <c:pt idx="1356">
                  <c:v>14</c:v>
                </c:pt>
                <c:pt idx="1357">
                  <c:v>25.88</c:v>
                </c:pt>
                <c:pt idx="1358">
                  <c:v>25.86</c:v>
                </c:pt>
                <c:pt idx="1359">
                  <c:v>29.83</c:v>
                </c:pt>
                <c:pt idx="1360">
                  <c:v>24.65</c:v>
                </c:pt>
                <c:pt idx="1361">
                  <c:v>27.26</c:v>
                </c:pt>
                <c:pt idx="1362">
                  <c:v>25.44</c:v>
                </c:pt>
                <c:pt idx="1363">
                  <c:v>25.62</c:v>
                </c:pt>
                <c:pt idx="1364">
                  <c:v>31.1</c:v>
                </c:pt>
                <c:pt idx="1365">
                  <c:v>30.4</c:v>
                </c:pt>
                <c:pt idx="1366">
                  <c:v>28.12</c:v>
                </c:pt>
                <c:pt idx="1367">
                  <c:v>21.61</c:v>
                </c:pt>
                <c:pt idx="1368">
                  <c:v>17.809999999999999</c:v>
                </c:pt>
                <c:pt idx="1369">
                  <c:v>6.27</c:v>
                </c:pt>
                <c:pt idx="1370">
                  <c:v>5.79</c:v>
                </c:pt>
                <c:pt idx="1371">
                  <c:v>14.05</c:v>
                </c:pt>
                <c:pt idx="1372">
                  <c:v>9.83</c:v>
                </c:pt>
                <c:pt idx="1373">
                  <c:v>8.32</c:v>
                </c:pt>
                <c:pt idx="1374">
                  <c:v>8.09</c:v>
                </c:pt>
                <c:pt idx="1375">
                  <c:v>9.75</c:v>
                </c:pt>
                <c:pt idx="1376">
                  <c:v>8.76</c:v>
                </c:pt>
                <c:pt idx="1377">
                  <c:v>11.15</c:v>
                </c:pt>
                <c:pt idx="1378">
                  <c:v>17.52</c:v>
                </c:pt>
                <c:pt idx="1379">
                  <c:v>22.45</c:v>
                </c:pt>
                <c:pt idx="1380">
                  <c:v>28.42</c:v>
                </c:pt>
                <c:pt idx="1381">
                  <c:v>35.22</c:v>
                </c:pt>
                <c:pt idx="1382">
                  <c:v>36.93</c:v>
                </c:pt>
                <c:pt idx="1383">
                  <c:v>34.51</c:v>
                </c:pt>
                <c:pt idx="1384">
                  <c:v>35.21</c:v>
                </c:pt>
                <c:pt idx="1385">
                  <c:v>38.6</c:v>
                </c:pt>
                <c:pt idx="1386">
                  <c:v>34.06</c:v>
                </c:pt>
                <c:pt idx="1387">
                  <c:v>36.36</c:v>
                </c:pt>
                <c:pt idx="1388">
                  <c:v>39.590000000000003</c:v>
                </c:pt>
                <c:pt idx="1389">
                  <c:v>40.98</c:v>
                </c:pt>
                <c:pt idx="1390">
                  <c:v>37.4</c:v>
                </c:pt>
                <c:pt idx="1391">
                  <c:v>36.119999999999997</c:v>
                </c:pt>
                <c:pt idx="1392">
                  <c:v>38.25</c:v>
                </c:pt>
                <c:pt idx="1393">
                  <c:v>38.799999999999997</c:v>
                </c:pt>
                <c:pt idx="1394">
                  <c:v>40.020000000000003</c:v>
                </c:pt>
                <c:pt idx="1395">
                  <c:v>39.409999999999997</c:v>
                </c:pt>
                <c:pt idx="1396">
                  <c:v>39.67</c:v>
                </c:pt>
                <c:pt idx="1397">
                  <c:v>38.14</c:v>
                </c:pt>
                <c:pt idx="1398">
                  <c:v>35.659999999999997</c:v>
                </c:pt>
                <c:pt idx="1399">
                  <c:v>41.05</c:v>
                </c:pt>
                <c:pt idx="1400">
                  <c:v>40.159999999999997</c:v>
                </c:pt>
                <c:pt idx="1401">
                  <c:v>40.94</c:v>
                </c:pt>
                <c:pt idx="1402">
                  <c:v>39.93</c:v>
                </c:pt>
                <c:pt idx="1403">
                  <c:v>39.18</c:v>
                </c:pt>
                <c:pt idx="1404">
                  <c:v>39.85</c:v>
                </c:pt>
                <c:pt idx="1405">
                  <c:v>39.97</c:v>
                </c:pt>
                <c:pt idx="1406">
                  <c:v>42.9</c:v>
                </c:pt>
                <c:pt idx="1407">
                  <c:v>43.83</c:v>
                </c:pt>
                <c:pt idx="1408">
                  <c:v>44.33</c:v>
                </c:pt>
                <c:pt idx="1409">
                  <c:v>44.44</c:v>
                </c:pt>
                <c:pt idx="1410">
                  <c:v>43.27</c:v>
                </c:pt>
                <c:pt idx="1411">
                  <c:v>42.01</c:v>
                </c:pt>
                <c:pt idx="1412">
                  <c:v>42.57</c:v>
                </c:pt>
                <c:pt idx="1413">
                  <c:v>44.8</c:v>
                </c:pt>
                <c:pt idx="1414">
                  <c:v>46.07</c:v>
                </c:pt>
                <c:pt idx="1415">
                  <c:v>44.93</c:v>
                </c:pt>
                <c:pt idx="1416">
                  <c:v>46.32</c:v>
                </c:pt>
                <c:pt idx="1417">
                  <c:v>44.96</c:v>
                </c:pt>
                <c:pt idx="1418">
                  <c:v>42.07</c:v>
                </c:pt>
                <c:pt idx="1419">
                  <c:v>41.92</c:v>
                </c:pt>
                <c:pt idx="1420">
                  <c:v>42.86</c:v>
                </c:pt>
                <c:pt idx="1421">
                  <c:v>42.92</c:v>
                </c:pt>
                <c:pt idx="1422">
                  <c:v>41.3</c:v>
                </c:pt>
                <c:pt idx="1423">
                  <c:v>39.68</c:v>
                </c:pt>
                <c:pt idx="1424">
                  <c:v>37.520000000000003</c:v>
                </c:pt>
                <c:pt idx="1425">
                  <c:v>34.79</c:v>
                </c:pt>
                <c:pt idx="1426">
                  <c:v>31.9</c:v>
                </c:pt>
                <c:pt idx="1427">
                  <c:v>37.450000000000003</c:v>
                </c:pt>
                <c:pt idx="1428">
                  <c:v>36.979999999999997</c:v>
                </c:pt>
                <c:pt idx="1429">
                  <c:v>35.450000000000003</c:v>
                </c:pt>
                <c:pt idx="1430">
                  <c:v>35.75</c:v>
                </c:pt>
                <c:pt idx="1431">
                  <c:v>38.369999999999997</c:v>
                </c:pt>
                <c:pt idx="1432">
                  <c:v>34.96</c:v>
                </c:pt>
                <c:pt idx="1433">
                  <c:v>31.07</c:v>
                </c:pt>
                <c:pt idx="1434">
                  <c:v>37.61</c:v>
                </c:pt>
                <c:pt idx="1435">
                  <c:v>38.270000000000003</c:v>
                </c:pt>
                <c:pt idx="1436">
                  <c:v>39.61</c:v>
                </c:pt>
                <c:pt idx="1437">
                  <c:v>39.159999999999997</c:v>
                </c:pt>
                <c:pt idx="1438">
                  <c:v>35.6</c:v>
                </c:pt>
                <c:pt idx="1439">
                  <c:v>34.369999999999997</c:v>
                </c:pt>
                <c:pt idx="1440">
                  <c:v>35.78</c:v>
                </c:pt>
                <c:pt idx="1441">
                  <c:v>37.24</c:v>
                </c:pt>
                <c:pt idx="1442">
                  <c:v>35.659999999999997</c:v>
                </c:pt>
                <c:pt idx="1443">
                  <c:v>34.909999999999997</c:v>
                </c:pt>
                <c:pt idx="1444">
                  <c:v>35.68</c:v>
                </c:pt>
                <c:pt idx="1445">
                  <c:v>37.700000000000003</c:v>
                </c:pt>
                <c:pt idx="1446">
                  <c:v>32.82</c:v>
                </c:pt>
                <c:pt idx="1447">
                  <c:v>32.43</c:v>
                </c:pt>
                <c:pt idx="1448">
                  <c:v>36.520000000000003</c:v>
                </c:pt>
                <c:pt idx="1449">
                  <c:v>37.200000000000003</c:v>
                </c:pt>
                <c:pt idx="1450">
                  <c:v>37.479999999999997</c:v>
                </c:pt>
                <c:pt idx="1451">
                  <c:v>36.22</c:v>
                </c:pt>
                <c:pt idx="1452">
                  <c:v>32.49</c:v>
                </c:pt>
                <c:pt idx="1453">
                  <c:v>27.73</c:v>
                </c:pt>
                <c:pt idx="1454">
                  <c:v>21.76</c:v>
                </c:pt>
                <c:pt idx="1455">
                  <c:v>20.95</c:v>
                </c:pt>
                <c:pt idx="1456">
                  <c:v>28.33</c:v>
                </c:pt>
                <c:pt idx="1457">
                  <c:v>30.42</c:v>
                </c:pt>
                <c:pt idx="1458">
                  <c:v>26.17</c:v>
                </c:pt>
                <c:pt idx="1459">
                  <c:v>30.61</c:v>
                </c:pt>
                <c:pt idx="1460">
                  <c:v>32.94</c:v>
                </c:pt>
                <c:pt idx="1461">
                  <c:v>29.03</c:v>
                </c:pt>
                <c:pt idx="1462">
                  <c:v>33.51</c:v>
                </c:pt>
                <c:pt idx="1463">
                  <c:v>30.81</c:v>
                </c:pt>
                <c:pt idx="1464">
                  <c:v>30.2</c:v>
                </c:pt>
                <c:pt idx="1465">
                  <c:v>32.21</c:v>
                </c:pt>
                <c:pt idx="1466">
                  <c:v>32.5</c:v>
                </c:pt>
                <c:pt idx="1467">
                  <c:v>32.1</c:v>
                </c:pt>
                <c:pt idx="1468">
                  <c:v>32.83</c:v>
                </c:pt>
                <c:pt idx="1469">
                  <c:v>45.2</c:v>
                </c:pt>
                <c:pt idx="1470">
                  <c:v>40.76</c:v>
                </c:pt>
                <c:pt idx="1471">
                  <c:v>35.93</c:v>
                </c:pt>
                <c:pt idx="1472">
                  <c:v>33.94</c:v>
                </c:pt>
                <c:pt idx="1473">
                  <c:v>32.369999999999997</c:v>
                </c:pt>
                <c:pt idx="1474">
                  <c:v>33.03</c:v>
                </c:pt>
                <c:pt idx="1475">
                  <c:v>34.97</c:v>
                </c:pt>
                <c:pt idx="1476">
                  <c:v>41.41</c:v>
                </c:pt>
                <c:pt idx="1477">
                  <c:v>45.74</c:v>
                </c:pt>
                <c:pt idx="1478">
                  <c:v>38.049999999999997</c:v>
                </c:pt>
                <c:pt idx="1479">
                  <c:v>36.44</c:v>
                </c:pt>
                <c:pt idx="1480">
                  <c:v>39.19</c:v>
                </c:pt>
                <c:pt idx="1481">
                  <c:v>33.83</c:v>
                </c:pt>
                <c:pt idx="1482">
                  <c:v>31.44</c:v>
                </c:pt>
                <c:pt idx="1483">
                  <c:v>42.39</c:v>
                </c:pt>
                <c:pt idx="1484">
                  <c:v>44.03</c:v>
                </c:pt>
                <c:pt idx="1485">
                  <c:v>43.31</c:v>
                </c:pt>
                <c:pt idx="1486">
                  <c:v>39.049999999999997</c:v>
                </c:pt>
                <c:pt idx="1487">
                  <c:v>42.81</c:v>
                </c:pt>
                <c:pt idx="1488">
                  <c:v>38.17</c:v>
                </c:pt>
                <c:pt idx="1489">
                  <c:v>36.369999999999997</c:v>
                </c:pt>
                <c:pt idx="1490">
                  <c:v>42.66</c:v>
                </c:pt>
                <c:pt idx="1491">
                  <c:v>48.25</c:v>
                </c:pt>
                <c:pt idx="1492">
                  <c:v>70.69</c:v>
                </c:pt>
                <c:pt idx="1493">
                  <c:v>85.96</c:v>
                </c:pt>
                <c:pt idx="1494">
                  <c:v>84.29</c:v>
                </c:pt>
                <c:pt idx="1495">
                  <c:v>51.44</c:v>
                </c:pt>
                <c:pt idx="1496">
                  <c:v>43.66</c:v>
                </c:pt>
                <c:pt idx="1497">
                  <c:v>75.67</c:v>
                </c:pt>
                <c:pt idx="1498">
                  <c:v>71.47</c:v>
                </c:pt>
                <c:pt idx="1499">
                  <c:v>96.15</c:v>
                </c:pt>
                <c:pt idx="1500">
                  <c:v>64.790000000000006</c:v>
                </c:pt>
                <c:pt idx="1501">
                  <c:v>69.540000000000006</c:v>
                </c:pt>
                <c:pt idx="1502">
                  <c:v>43.37</c:v>
                </c:pt>
                <c:pt idx="1503">
                  <c:v>39.29</c:v>
                </c:pt>
                <c:pt idx="1504">
                  <c:v>50.18</c:v>
                </c:pt>
                <c:pt idx="1505">
                  <c:v>42.19</c:v>
                </c:pt>
                <c:pt idx="1506">
                  <c:v>37.82</c:v>
                </c:pt>
                <c:pt idx="1507">
                  <c:v>45.79</c:v>
                </c:pt>
                <c:pt idx="1508">
                  <c:v>38.97</c:v>
                </c:pt>
                <c:pt idx="1509">
                  <c:v>35.22</c:v>
                </c:pt>
                <c:pt idx="1510">
                  <c:v>33.24</c:v>
                </c:pt>
                <c:pt idx="1511">
                  <c:v>39.46</c:v>
                </c:pt>
                <c:pt idx="1512">
                  <c:v>36.479999999999997</c:v>
                </c:pt>
                <c:pt idx="1513">
                  <c:v>34.409999999999997</c:v>
                </c:pt>
                <c:pt idx="1514">
                  <c:v>31.41</c:v>
                </c:pt>
                <c:pt idx="1515">
                  <c:v>31.82</c:v>
                </c:pt>
                <c:pt idx="1516">
                  <c:v>30.9</c:v>
                </c:pt>
                <c:pt idx="1517">
                  <c:v>32.97</c:v>
                </c:pt>
                <c:pt idx="1518">
                  <c:v>37.61</c:v>
                </c:pt>
                <c:pt idx="1519">
                  <c:v>33.79</c:v>
                </c:pt>
                <c:pt idx="1520">
                  <c:v>34.229999999999997</c:v>
                </c:pt>
                <c:pt idx="1521">
                  <c:v>33.22</c:v>
                </c:pt>
                <c:pt idx="1522">
                  <c:v>32.92</c:v>
                </c:pt>
                <c:pt idx="1523">
                  <c:v>31.58</c:v>
                </c:pt>
                <c:pt idx="1524">
                  <c:v>31.8</c:v>
                </c:pt>
                <c:pt idx="1525">
                  <c:v>34.64</c:v>
                </c:pt>
                <c:pt idx="1526">
                  <c:v>34.65</c:v>
                </c:pt>
                <c:pt idx="1527">
                  <c:v>32.340000000000003</c:v>
                </c:pt>
                <c:pt idx="1528">
                  <c:v>32.65</c:v>
                </c:pt>
                <c:pt idx="1529">
                  <c:v>31.34</c:v>
                </c:pt>
                <c:pt idx="1530">
                  <c:v>28.82</c:v>
                </c:pt>
                <c:pt idx="1531">
                  <c:v>27.44</c:v>
                </c:pt>
                <c:pt idx="1532">
                  <c:v>30.51</c:v>
                </c:pt>
                <c:pt idx="1533">
                  <c:v>29.99</c:v>
                </c:pt>
                <c:pt idx="1534">
                  <c:v>30.97</c:v>
                </c:pt>
                <c:pt idx="1535">
                  <c:v>30.61</c:v>
                </c:pt>
                <c:pt idx="1536">
                  <c:v>30.39</c:v>
                </c:pt>
                <c:pt idx="1537">
                  <c:v>27.88</c:v>
                </c:pt>
                <c:pt idx="1538">
                  <c:v>27.96</c:v>
                </c:pt>
                <c:pt idx="1539">
                  <c:v>29.36</c:v>
                </c:pt>
                <c:pt idx="1540">
                  <c:v>28.53</c:v>
                </c:pt>
                <c:pt idx="1541">
                  <c:v>28.91</c:v>
                </c:pt>
                <c:pt idx="1542">
                  <c:v>28.71</c:v>
                </c:pt>
                <c:pt idx="1543">
                  <c:v>28.16</c:v>
                </c:pt>
                <c:pt idx="1544">
                  <c:v>25.31</c:v>
                </c:pt>
                <c:pt idx="1545">
                  <c:v>24.41</c:v>
                </c:pt>
                <c:pt idx="1546">
                  <c:v>28.23</c:v>
                </c:pt>
                <c:pt idx="1547">
                  <c:v>26.7</c:v>
                </c:pt>
                <c:pt idx="1548">
                  <c:v>25.4</c:v>
                </c:pt>
                <c:pt idx="1549">
                  <c:v>23.89</c:v>
                </c:pt>
                <c:pt idx="1550">
                  <c:v>24.75</c:v>
                </c:pt>
                <c:pt idx="1551">
                  <c:v>23.04</c:v>
                </c:pt>
                <c:pt idx="1552">
                  <c:v>24.07</c:v>
                </c:pt>
                <c:pt idx="1553">
                  <c:v>27.83</c:v>
                </c:pt>
                <c:pt idx="1554">
                  <c:v>31.93</c:v>
                </c:pt>
                <c:pt idx="1555">
                  <c:v>30.96</c:v>
                </c:pt>
                <c:pt idx="1556">
                  <c:v>29.57</c:v>
                </c:pt>
                <c:pt idx="1557">
                  <c:v>28.63</c:v>
                </c:pt>
                <c:pt idx="1558">
                  <c:v>28.79</c:v>
                </c:pt>
                <c:pt idx="1559">
                  <c:v>29.39</c:v>
                </c:pt>
                <c:pt idx="1560">
                  <c:v>25.64</c:v>
                </c:pt>
                <c:pt idx="1561">
                  <c:v>28.95</c:v>
                </c:pt>
                <c:pt idx="1562">
                  <c:v>31.76</c:v>
                </c:pt>
                <c:pt idx="1563">
                  <c:v>32.700000000000003</c:v>
                </c:pt>
                <c:pt idx="1564">
                  <c:v>33.57</c:v>
                </c:pt>
                <c:pt idx="1565">
                  <c:v>32.01</c:v>
                </c:pt>
                <c:pt idx="1566">
                  <c:v>31.07</c:v>
                </c:pt>
                <c:pt idx="1567">
                  <c:v>36.380000000000003</c:v>
                </c:pt>
                <c:pt idx="1568">
                  <c:v>42.11</c:v>
                </c:pt>
                <c:pt idx="1569">
                  <c:v>42.32</c:v>
                </c:pt>
                <c:pt idx="1570">
                  <c:v>35.56</c:v>
                </c:pt>
                <c:pt idx="1571">
                  <c:v>35.65</c:v>
                </c:pt>
                <c:pt idx="1572">
                  <c:v>31.66</c:v>
                </c:pt>
                <c:pt idx="1573">
                  <c:v>31.48</c:v>
                </c:pt>
                <c:pt idx="1574">
                  <c:v>35.36</c:v>
                </c:pt>
                <c:pt idx="1575">
                  <c:v>33.590000000000003</c:v>
                </c:pt>
                <c:pt idx="1576">
                  <c:v>35.06</c:v>
                </c:pt>
                <c:pt idx="1577">
                  <c:v>33.65</c:v>
                </c:pt>
                <c:pt idx="1578">
                  <c:v>31.120799999999999</c:v>
                </c:pt>
                <c:pt idx="1579">
                  <c:v>28.5945</c:v>
                </c:pt>
                <c:pt idx="1580">
                  <c:v>22.5029</c:v>
                </c:pt>
                <c:pt idx="1581">
                  <c:v>29.44</c:v>
                </c:pt>
                <c:pt idx="1582">
                  <c:v>23.252500000000001</c:v>
                </c:pt>
                <c:pt idx="1583">
                  <c:v>29.930800000000001</c:v>
                </c:pt>
                <c:pt idx="1584">
                  <c:v>31.5883</c:v>
                </c:pt>
                <c:pt idx="1585">
                  <c:v>31.989100000000001</c:v>
                </c:pt>
                <c:pt idx="1586">
                  <c:v>29.8904</c:v>
                </c:pt>
                <c:pt idx="1587">
                  <c:v>30.001200000000001</c:v>
                </c:pt>
                <c:pt idx="1588">
                  <c:v>35.032899999999998</c:v>
                </c:pt>
                <c:pt idx="1589">
                  <c:v>34.93</c:v>
                </c:pt>
                <c:pt idx="1590">
                  <c:v>34.090400000000002</c:v>
                </c:pt>
                <c:pt idx="1591">
                  <c:v>33.095799999999997</c:v>
                </c:pt>
                <c:pt idx="1592">
                  <c:v>29.382000000000001</c:v>
                </c:pt>
                <c:pt idx="1593">
                  <c:v>26.2804</c:v>
                </c:pt>
                <c:pt idx="1594">
                  <c:v>27.915800000000001</c:v>
                </c:pt>
                <c:pt idx="1595">
                  <c:v>30.44</c:v>
                </c:pt>
                <c:pt idx="1596">
                  <c:v>34.14</c:v>
                </c:pt>
                <c:pt idx="1597">
                  <c:v>32.25</c:v>
                </c:pt>
                <c:pt idx="1598">
                  <c:v>25.2925</c:v>
                </c:pt>
                <c:pt idx="1599">
                  <c:v>29.727900000000002</c:v>
                </c:pt>
                <c:pt idx="1600">
                  <c:v>27.737500000000001</c:v>
                </c:pt>
                <c:pt idx="1601">
                  <c:v>23.650400000000001</c:v>
                </c:pt>
                <c:pt idx="1602">
                  <c:v>29.3033</c:v>
                </c:pt>
                <c:pt idx="1603">
                  <c:v>28.5183</c:v>
                </c:pt>
                <c:pt idx="1604">
                  <c:v>27.316600000000001</c:v>
                </c:pt>
                <c:pt idx="1605">
                  <c:v>26.1845</c:v>
                </c:pt>
                <c:pt idx="1606">
                  <c:v>24.292899999999999</c:v>
                </c:pt>
                <c:pt idx="1607">
                  <c:v>20.8108</c:v>
                </c:pt>
                <c:pt idx="1608">
                  <c:v>17.93</c:v>
                </c:pt>
                <c:pt idx="1609">
                  <c:v>21.882899999999999</c:v>
                </c:pt>
                <c:pt idx="1610">
                  <c:v>27.465</c:v>
                </c:pt>
                <c:pt idx="1611">
                  <c:v>28.269500000000001</c:v>
                </c:pt>
                <c:pt idx="1612">
                  <c:v>30.908300000000001</c:v>
                </c:pt>
                <c:pt idx="1613">
                  <c:v>27.660799999999998</c:v>
                </c:pt>
                <c:pt idx="1614">
                  <c:v>25.1891</c:v>
                </c:pt>
                <c:pt idx="1615">
                  <c:v>24.451599999999999</c:v>
                </c:pt>
                <c:pt idx="1616">
                  <c:v>31.393699999999999</c:v>
                </c:pt>
                <c:pt idx="1617">
                  <c:v>28.5762</c:v>
                </c:pt>
                <c:pt idx="1618">
                  <c:v>28.6175</c:v>
                </c:pt>
                <c:pt idx="1619">
                  <c:v>28.2058</c:v>
                </c:pt>
                <c:pt idx="1620">
                  <c:v>26.5458</c:v>
                </c:pt>
                <c:pt idx="1621">
                  <c:v>21.6462</c:v>
                </c:pt>
                <c:pt idx="1622">
                  <c:v>20.88</c:v>
                </c:pt>
                <c:pt idx="1623">
                  <c:v>27.077000000000002</c:v>
                </c:pt>
                <c:pt idx="1624">
                  <c:v>26.792000000000002</c:v>
                </c:pt>
                <c:pt idx="1625">
                  <c:v>27.023299999999999</c:v>
                </c:pt>
                <c:pt idx="1626">
                  <c:v>26.3812</c:v>
                </c:pt>
                <c:pt idx="1627">
                  <c:v>26.181999999999999</c:v>
                </c:pt>
                <c:pt idx="1628">
                  <c:v>23.5962</c:v>
                </c:pt>
                <c:pt idx="1629">
                  <c:v>19.403300000000002</c:v>
                </c:pt>
                <c:pt idx="1630">
                  <c:v>25.296199999999999</c:v>
                </c:pt>
                <c:pt idx="1631">
                  <c:v>26.028300000000002</c:v>
                </c:pt>
                <c:pt idx="1632">
                  <c:v>26.062899999999999</c:v>
                </c:pt>
                <c:pt idx="1633">
                  <c:v>24.395800000000001</c:v>
                </c:pt>
                <c:pt idx="1634">
                  <c:v>22.28</c:v>
                </c:pt>
                <c:pt idx="1635">
                  <c:v>21.630400000000002</c:v>
                </c:pt>
                <c:pt idx="1636">
                  <c:v>19.598299999999998</c:v>
                </c:pt>
                <c:pt idx="1637">
                  <c:v>22.758299999999998</c:v>
                </c:pt>
                <c:pt idx="1638">
                  <c:v>24.7058</c:v>
                </c:pt>
                <c:pt idx="1639">
                  <c:v>25.857900000000001</c:v>
                </c:pt>
                <c:pt idx="1640">
                  <c:v>25.670400000000001</c:v>
                </c:pt>
                <c:pt idx="1641">
                  <c:v>24.527000000000001</c:v>
                </c:pt>
                <c:pt idx="1642">
                  <c:v>22.86</c:v>
                </c:pt>
                <c:pt idx="1643">
                  <c:v>20.8825</c:v>
                </c:pt>
                <c:pt idx="1644">
                  <c:v>24.756599999999999</c:v>
                </c:pt>
                <c:pt idx="1645">
                  <c:v>25.116599999999998</c:v>
                </c:pt>
                <c:pt idx="1646">
                  <c:v>25.1158</c:v>
                </c:pt>
                <c:pt idx="1647">
                  <c:v>23.700800000000001</c:v>
                </c:pt>
                <c:pt idx="1648">
                  <c:v>22.337</c:v>
                </c:pt>
                <c:pt idx="1649">
                  <c:v>19.302</c:v>
                </c:pt>
                <c:pt idx="1650">
                  <c:v>18.816600000000001</c:v>
                </c:pt>
                <c:pt idx="1651">
                  <c:v>20.667899999999999</c:v>
                </c:pt>
                <c:pt idx="1652">
                  <c:v>17.742000000000001</c:v>
                </c:pt>
                <c:pt idx="1653">
                  <c:v>18.295000000000002</c:v>
                </c:pt>
                <c:pt idx="1654">
                  <c:v>15.165800000000001</c:v>
                </c:pt>
                <c:pt idx="1655">
                  <c:v>12.9329</c:v>
                </c:pt>
                <c:pt idx="1656">
                  <c:v>10.397</c:v>
                </c:pt>
                <c:pt idx="1657">
                  <c:v>7.8457999999999997</c:v>
                </c:pt>
                <c:pt idx="1658">
                  <c:v>8.8874999999999993</c:v>
                </c:pt>
                <c:pt idx="1659">
                  <c:v>8.0140999999999991</c:v>
                </c:pt>
                <c:pt idx="1660">
                  <c:v>8.3237000000000005</c:v>
                </c:pt>
                <c:pt idx="1661">
                  <c:v>8.2070000000000007</c:v>
                </c:pt>
                <c:pt idx="1662">
                  <c:v>9.1603999999999992</c:v>
                </c:pt>
                <c:pt idx="1663">
                  <c:v>9.7095000000000002</c:v>
                </c:pt>
                <c:pt idx="1664">
                  <c:v>9.7340999999999998</c:v>
                </c:pt>
                <c:pt idx="1665">
                  <c:v>8.0958000000000006</c:v>
                </c:pt>
                <c:pt idx="1666">
                  <c:v>9.1087000000000007</c:v>
                </c:pt>
                <c:pt idx="1667">
                  <c:v>7.9424999999999999</c:v>
                </c:pt>
                <c:pt idx="1668">
                  <c:v>8.0986999999999991</c:v>
                </c:pt>
                <c:pt idx="1669">
                  <c:v>8.1766000000000005</c:v>
                </c:pt>
                <c:pt idx="1670">
                  <c:v>8.1966000000000001</c:v>
                </c:pt>
                <c:pt idx="1671">
                  <c:v>9.1907999999999994</c:v>
                </c:pt>
                <c:pt idx="1672">
                  <c:v>10.441599999999999</c:v>
                </c:pt>
                <c:pt idx="1673">
                  <c:v>10.334099999999999</c:v>
                </c:pt>
                <c:pt idx="1674">
                  <c:v>10.785399999999999</c:v>
                </c:pt>
                <c:pt idx="1675">
                  <c:v>10.461600000000001</c:v>
                </c:pt>
                <c:pt idx="1676">
                  <c:v>10.5875</c:v>
                </c:pt>
                <c:pt idx="1677">
                  <c:v>10.143700000000001</c:v>
                </c:pt>
                <c:pt idx="1678">
                  <c:v>10.517899999999999</c:v>
                </c:pt>
                <c:pt idx="1679">
                  <c:v>12.138299999999999</c:v>
                </c:pt>
                <c:pt idx="1680">
                  <c:v>10.6645</c:v>
                </c:pt>
                <c:pt idx="1681">
                  <c:v>12.1845</c:v>
                </c:pt>
                <c:pt idx="1682">
                  <c:v>16.88</c:v>
                </c:pt>
                <c:pt idx="1683">
                  <c:v>19.276599999999998</c:v>
                </c:pt>
                <c:pt idx="1684">
                  <c:v>19.125399999999999</c:v>
                </c:pt>
                <c:pt idx="1685">
                  <c:v>20.572500000000002</c:v>
                </c:pt>
                <c:pt idx="1686">
                  <c:v>25.72</c:v>
                </c:pt>
                <c:pt idx="1687">
                  <c:v>26.9129</c:v>
                </c:pt>
                <c:pt idx="1688">
                  <c:v>27.396999999999998</c:v>
                </c:pt>
                <c:pt idx="1689">
                  <c:v>30.784099999999999</c:v>
                </c:pt>
                <c:pt idx="1690">
                  <c:v>30.4895</c:v>
                </c:pt>
                <c:pt idx="1691">
                  <c:v>27.635400000000001</c:v>
                </c:pt>
                <c:pt idx="1692">
                  <c:v>26.647500000000001</c:v>
                </c:pt>
                <c:pt idx="1693">
                  <c:v>31.344100000000001</c:v>
                </c:pt>
                <c:pt idx="1694">
                  <c:v>30.609500000000001</c:v>
                </c:pt>
                <c:pt idx="1695">
                  <c:v>29.388300000000001</c:v>
                </c:pt>
                <c:pt idx="1696">
                  <c:v>30.411200000000001</c:v>
                </c:pt>
                <c:pt idx="1697">
                  <c:v>32.182899999999997</c:v>
                </c:pt>
                <c:pt idx="1698">
                  <c:v>30.060400000000001</c:v>
                </c:pt>
                <c:pt idx="1699">
                  <c:v>26.29</c:v>
                </c:pt>
                <c:pt idx="1700">
                  <c:v>32.2179</c:v>
                </c:pt>
                <c:pt idx="1701">
                  <c:v>32.737000000000002</c:v>
                </c:pt>
                <c:pt idx="1702">
                  <c:v>32.340400000000002</c:v>
                </c:pt>
                <c:pt idx="1703">
                  <c:v>32.908700000000003</c:v>
                </c:pt>
                <c:pt idx="1704">
                  <c:v>31.382899999999999</c:v>
                </c:pt>
                <c:pt idx="1705">
                  <c:v>27.430399999999999</c:v>
                </c:pt>
                <c:pt idx="1706">
                  <c:v>24.918700000000001</c:v>
                </c:pt>
                <c:pt idx="1707">
                  <c:v>30.691600000000001</c:v>
                </c:pt>
                <c:pt idx="1708">
                  <c:v>28.07</c:v>
                </c:pt>
                <c:pt idx="1709">
                  <c:v>25.995799999999999</c:v>
                </c:pt>
                <c:pt idx="1710">
                  <c:v>24.476600000000001</c:v>
                </c:pt>
                <c:pt idx="1711">
                  <c:v>21.2683</c:v>
                </c:pt>
                <c:pt idx="1712">
                  <c:v>17.9604</c:v>
                </c:pt>
                <c:pt idx="1713">
                  <c:v>19.757899999999999</c:v>
                </c:pt>
                <c:pt idx="1714">
                  <c:v>22.9316</c:v>
                </c:pt>
                <c:pt idx="1715">
                  <c:v>23.895399999999999</c:v>
                </c:pt>
                <c:pt idx="1716">
                  <c:v>25.117899999999999</c:v>
                </c:pt>
                <c:pt idx="1717">
                  <c:v>25.077000000000002</c:v>
                </c:pt>
                <c:pt idx="1718">
                  <c:v>20.6</c:v>
                </c:pt>
                <c:pt idx="1719">
                  <c:v>19.5366</c:v>
                </c:pt>
                <c:pt idx="1720">
                  <c:v>20.1312</c:v>
                </c:pt>
                <c:pt idx="1721">
                  <c:v>24.997900000000001</c:v>
                </c:pt>
                <c:pt idx="1722">
                  <c:v>24.839099999999998</c:v>
                </c:pt>
                <c:pt idx="1723">
                  <c:v>24.144100000000002</c:v>
                </c:pt>
                <c:pt idx="1724">
                  <c:v>27.147500000000001</c:v>
                </c:pt>
                <c:pt idx="1725">
                  <c:v>27.8995</c:v>
                </c:pt>
                <c:pt idx="1726">
                  <c:v>24.970800000000001</c:v>
                </c:pt>
                <c:pt idx="1727">
                  <c:v>24.31</c:v>
                </c:pt>
                <c:pt idx="1728">
                  <c:v>26.5883</c:v>
                </c:pt>
                <c:pt idx="1729">
                  <c:v>27.974499999999999</c:v>
                </c:pt>
                <c:pt idx="1730">
                  <c:v>31.146999999999998</c:v>
                </c:pt>
                <c:pt idx="1731">
                  <c:v>33.498699999999999</c:v>
                </c:pt>
                <c:pt idx="1732">
                  <c:v>31.6508</c:v>
                </c:pt>
                <c:pt idx="1733">
                  <c:v>29.266999999999999</c:v>
                </c:pt>
                <c:pt idx="1734">
                  <c:v>25.128299999999999</c:v>
                </c:pt>
                <c:pt idx="1735">
                  <c:v>31.017499999999998</c:v>
                </c:pt>
                <c:pt idx="1736">
                  <c:v>31.762</c:v>
                </c:pt>
                <c:pt idx="1737">
                  <c:v>29.090800000000002</c:v>
                </c:pt>
                <c:pt idx="1738">
                  <c:v>32.605800000000002</c:v>
                </c:pt>
                <c:pt idx="1739">
                  <c:v>32.229100000000003</c:v>
                </c:pt>
                <c:pt idx="1740">
                  <c:v>31.069099999999999</c:v>
                </c:pt>
                <c:pt idx="1741">
                  <c:v>28.698699999999999</c:v>
                </c:pt>
                <c:pt idx="1742">
                  <c:v>31.153700000000001</c:v>
                </c:pt>
                <c:pt idx="1743">
                  <c:v>33.506599999999999</c:v>
                </c:pt>
                <c:pt idx="1744">
                  <c:v>38.430799999999998</c:v>
                </c:pt>
                <c:pt idx="1745">
                  <c:v>38.967500000000001</c:v>
                </c:pt>
                <c:pt idx="1746">
                  <c:v>36.556600000000003</c:v>
                </c:pt>
                <c:pt idx="1747">
                  <c:v>33.447899999999997</c:v>
                </c:pt>
                <c:pt idx="1748">
                  <c:v>31.845400000000001</c:v>
                </c:pt>
                <c:pt idx="1749">
                  <c:v>36.959499999999998</c:v>
                </c:pt>
                <c:pt idx="1750">
                  <c:v>35.4283</c:v>
                </c:pt>
                <c:pt idx="1751">
                  <c:v>34.800400000000003</c:v>
                </c:pt>
                <c:pt idx="1752">
                  <c:v>34.549999999999997</c:v>
                </c:pt>
                <c:pt idx="1753">
                  <c:v>34.4983</c:v>
                </c:pt>
                <c:pt idx="1754">
                  <c:v>33.658700000000003</c:v>
                </c:pt>
                <c:pt idx="1755">
                  <c:v>33.403700000000001</c:v>
                </c:pt>
                <c:pt idx="1756">
                  <c:v>37.482900000000001</c:v>
                </c:pt>
                <c:pt idx="1757">
                  <c:v>38.808700000000002</c:v>
                </c:pt>
                <c:pt idx="1758">
                  <c:v>37.963700000000003</c:v>
                </c:pt>
                <c:pt idx="1759">
                  <c:v>37.697000000000003</c:v>
                </c:pt>
                <c:pt idx="1760">
                  <c:v>37.153300000000002</c:v>
                </c:pt>
                <c:pt idx="1761">
                  <c:v>36.448700000000002</c:v>
                </c:pt>
                <c:pt idx="1762">
                  <c:v>35.61</c:v>
                </c:pt>
                <c:pt idx="1763">
                  <c:v>36.301600000000001</c:v>
                </c:pt>
                <c:pt idx="1764">
                  <c:v>38.781199999999998</c:v>
                </c:pt>
                <c:pt idx="1765">
                  <c:v>37.454500000000003</c:v>
                </c:pt>
                <c:pt idx="1766">
                  <c:v>34.249499999999998</c:v>
                </c:pt>
                <c:pt idx="1767">
                  <c:v>33.660400000000003</c:v>
                </c:pt>
                <c:pt idx="1768">
                  <c:v>32.879100000000001</c:v>
                </c:pt>
                <c:pt idx="1769">
                  <c:v>33.019500000000001</c:v>
                </c:pt>
                <c:pt idx="1770">
                  <c:v>36.623699999999999</c:v>
                </c:pt>
                <c:pt idx="1771">
                  <c:v>35.4741</c:v>
                </c:pt>
                <c:pt idx="1772">
                  <c:v>33.817500000000003</c:v>
                </c:pt>
                <c:pt idx="1773">
                  <c:v>34.1145</c:v>
                </c:pt>
                <c:pt idx="1774">
                  <c:v>35.486600000000003</c:v>
                </c:pt>
                <c:pt idx="1775">
                  <c:v>32.309100000000001</c:v>
                </c:pt>
                <c:pt idx="1776">
                  <c:v>32.212899999999998</c:v>
                </c:pt>
                <c:pt idx="1777">
                  <c:v>34.508299999999998</c:v>
                </c:pt>
                <c:pt idx="1778">
                  <c:v>35.938299999999998</c:v>
                </c:pt>
                <c:pt idx="1779">
                  <c:v>34.845399999999998</c:v>
                </c:pt>
                <c:pt idx="1780">
                  <c:v>34.354500000000002</c:v>
                </c:pt>
                <c:pt idx="1781">
                  <c:v>34.433700000000002</c:v>
                </c:pt>
                <c:pt idx="1782">
                  <c:v>33.200800000000001</c:v>
                </c:pt>
                <c:pt idx="1783">
                  <c:v>32.755800000000001</c:v>
                </c:pt>
                <c:pt idx="1784">
                  <c:v>34.878300000000003</c:v>
                </c:pt>
                <c:pt idx="1785">
                  <c:v>34.783700000000003</c:v>
                </c:pt>
                <c:pt idx="1786">
                  <c:v>33.9495</c:v>
                </c:pt>
                <c:pt idx="1787">
                  <c:v>32.893700000000003</c:v>
                </c:pt>
                <c:pt idx="1788">
                  <c:v>31.571200000000001</c:v>
                </c:pt>
                <c:pt idx="1789">
                  <c:v>32.184100000000001</c:v>
                </c:pt>
                <c:pt idx="1790">
                  <c:v>28.1387</c:v>
                </c:pt>
                <c:pt idx="1791">
                  <c:v>32.844099999999997</c:v>
                </c:pt>
                <c:pt idx="1792">
                  <c:v>35.882899999999999</c:v>
                </c:pt>
                <c:pt idx="1793">
                  <c:v>36.4054</c:v>
                </c:pt>
                <c:pt idx="1794">
                  <c:v>38.554499999999997</c:v>
                </c:pt>
                <c:pt idx="1795">
                  <c:v>40.370399999999997</c:v>
                </c:pt>
                <c:pt idx="1796">
                  <c:v>38.535800000000002</c:v>
                </c:pt>
                <c:pt idx="1797">
                  <c:v>38.323300000000003</c:v>
                </c:pt>
                <c:pt idx="1798">
                  <c:v>48.45</c:v>
                </c:pt>
                <c:pt idx="1799">
                  <c:v>49.64</c:v>
                </c:pt>
                <c:pt idx="1800">
                  <c:v>58.506999999999998</c:v>
                </c:pt>
                <c:pt idx="1801">
                  <c:v>52.004100000000001</c:v>
                </c:pt>
                <c:pt idx="1802">
                  <c:v>50.115400000000001</c:v>
                </c:pt>
                <c:pt idx="1803">
                  <c:v>43.207000000000001</c:v>
                </c:pt>
                <c:pt idx="1804">
                  <c:v>36.819099999999999</c:v>
                </c:pt>
                <c:pt idx="1805">
                  <c:v>44.752899999999997</c:v>
                </c:pt>
                <c:pt idx="1806">
                  <c:v>55.047899999999998</c:v>
                </c:pt>
                <c:pt idx="1807">
                  <c:v>66.855000000000004</c:v>
                </c:pt>
                <c:pt idx="1808">
                  <c:v>62.076999999999998</c:v>
                </c:pt>
                <c:pt idx="1809">
                  <c:v>41.6312</c:v>
                </c:pt>
                <c:pt idx="1810">
                  <c:v>36.227899999999998</c:v>
                </c:pt>
                <c:pt idx="1811">
                  <c:v>36.285800000000002</c:v>
                </c:pt>
                <c:pt idx="1812">
                  <c:v>42.3904</c:v>
                </c:pt>
                <c:pt idx="1813">
                  <c:v>47.686199999999999</c:v>
                </c:pt>
                <c:pt idx="1814">
                  <c:v>48.386200000000002</c:v>
                </c:pt>
                <c:pt idx="1815">
                  <c:v>42.0625</c:v>
                </c:pt>
                <c:pt idx="1816">
                  <c:v>39.759500000000003</c:v>
                </c:pt>
                <c:pt idx="1817">
                  <c:v>37.522500000000001</c:v>
                </c:pt>
                <c:pt idx="1818">
                  <c:v>35.415399999999998</c:v>
                </c:pt>
                <c:pt idx="1819">
                  <c:v>36.133699999999997</c:v>
                </c:pt>
                <c:pt idx="1820">
                  <c:v>35.36</c:v>
                </c:pt>
                <c:pt idx="1821">
                  <c:v>35.325800000000001</c:v>
                </c:pt>
                <c:pt idx="1822">
                  <c:v>36.853299999999997</c:v>
                </c:pt>
                <c:pt idx="1823">
                  <c:v>36.890799999999999</c:v>
                </c:pt>
                <c:pt idx="1824">
                  <c:v>34.458300000000001</c:v>
                </c:pt>
                <c:pt idx="1825">
                  <c:v>32.311599999999999</c:v>
                </c:pt>
                <c:pt idx="1826">
                  <c:v>32.1158</c:v>
                </c:pt>
                <c:pt idx="1827">
                  <c:v>31.734100000000002</c:v>
                </c:pt>
                <c:pt idx="1828">
                  <c:v>36.675400000000003</c:v>
                </c:pt>
                <c:pt idx="1829">
                  <c:v>35.099499999999999</c:v>
                </c:pt>
                <c:pt idx="1830">
                  <c:v>34.807499999999997</c:v>
                </c:pt>
                <c:pt idx="1831">
                  <c:v>35.375399999999999</c:v>
                </c:pt>
                <c:pt idx="1832">
                  <c:v>34.825400000000002</c:v>
                </c:pt>
                <c:pt idx="1833">
                  <c:v>38.521599999999999</c:v>
                </c:pt>
                <c:pt idx="1834">
                  <c:v>40.507899999999999</c:v>
                </c:pt>
                <c:pt idx="1835">
                  <c:v>39.255000000000003</c:v>
                </c:pt>
                <c:pt idx="1836">
                  <c:v>40.586199999999998</c:v>
                </c:pt>
                <c:pt idx="1837">
                  <c:v>41.819099999999999</c:v>
                </c:pt>
                <c:pt idx="1838">
                  <c:v>40.395000000000003</c:v>
                </c:pt>
                <c:pt idx="1839">
                  <c:v>39.357900000000001</c:v>
                </c:pt>
                <c:pt idx="1840">
                  <c:v>46.293700000000001</c:v>
                </c:pt>
                <c:pt idx="1841">
                  <c:v>47.838700000000003</c:v>
                </c:pt>
                <c:pt idx="1842">
                  <c:v>51.112000000000002</c:v>
                </c:pt>
                <c:pt idx="1843">
                  <c:v>53.435400000000001</c:v>
                </c:pt>
                <c:pt idx="1844">
                  <c:v>47.779499999999999</c:v>
                </c:pt>
                <c:pt idx="1845">
                  <c:v>40.159100000000002</c:v>
                </c:pt>
                <c:pt idx="1846">
                  <c:v>38.414099999999998</c:v>
                </c:pt>
                <c:pt idx="1847">
                  <c:v>41.2258</c:v>
                </c:pt>
                <c:pt idx="1848">
                  <c:v>46.947499999999998</c:v>
                </c:pt>
                <c:pt idx="1849">
                  <c:v>54.24</c:v>
                </c:pt>
                <c:pt idx="1850">
                  <c:v>55.9041</c:v>
                </c:pt>
                <c:pt idx="1851">
                  <c:v>50.866599999999998</c:v>
                </c:pt>
                <c:pt idx="1852">
                  <c:v>37.502000000000002</c:v>
                </c:pt>
                <c:pt idx="1853">
                  <c:v>36.026600000000002</c:v>
                </c:pt>
                <c:pt idx="1854">
                  <c:v>37.748699999999999</c:v>
                </c:pt>
                <c:pt idx="1855">
                  <c:v>37.035800000000002</c:v>
                </c:pt>
                <c:pt idx="1856">
                  <c:v>35.577500000000001</c:v>
                </c:pt>
                <c:pt idx="1857">
                  <c:v>35.953299999999999</c:v>
                </c:pt>
                <c:pt idx="1858">
                  <c:v>38.550800000000002</c:v>
                </c:pt>
                <c:pt idx="1859">
                  <c:v>36.499099999999999</c:v>
                </c:pt>
                <c:pt idx="1860">
                  <c:v>35.934100000000001</c:v>
                </c:pt>
                <c:pt idx="1861">
                  <c:v>36.79</c:v>
                </c:pt>
                <c:pt idx="1862">
                  <c:v>37.07</c:v>
                </c:pt>
                <c:pt idx="1863">
                  <c:v>39.4</c:v>
                </c:pt>
                <c:pt idx="1864">
                  <c:v>41.06</c:v>
                </c:pt>
                <c:pt idx="1865">
                  <c:v>39.799999999999997</c:v>
                </c:pt>
                <c:pt idx="1866">
                  <c:v>38.700000000000003</c:v>
                </c:pt>
                <c:pt idx="1867">
                  <c:v>37.795000000000002</c:v>
                </c:pt>
                <c:pt idx="1868">
                  <c:v>41.986600000000003</c:v>
                </c:pt>
                <c:pt idx="1869">
                  <c:v>43.095799999999997</c:v>
                </c:pt>
                <c:pt idx="1870">
                  <c:v>45.171199999999999</c:v>
                </c:pt>
                <c:pt idx="1871">
                  <c:v>39.961199999999998</c:v>
                </c:pt>
                <c:pt idx="1872">
                  <c:v>40.230800000000002</c:v>
                </c:pt>
                <c:pt idx="1873">
                  <c:v>38.518300000000004</c:v>
                </c:pt>
                <c:pt idx="1874">
                  <c:v>37.7166</c:v>
                </c:pt>
                <c:pt idx="1875">
                  <c:v>39.480400000000003</c:v>
                </c:pt>
                <c:pt idx="1876">
                  <c:v>38.839100000000002</c:v>
                </c:pt>
                <c:pt idx="1877">
                  <c:v>39.704500000000003</c:v>
                </c:pt>
                <c:pt idx="1878">
                  <c:v>43.675800000000002</c:v>
                </c:pt>
                <c:pt idx="1879">
                  <c:v>42.899099999999997</c:v>
                </c:pt>
                <c:pt idx="1880">
                  <c:v>38.510800000000003</c:v>
                </c:pt>
                <c:pt idx="1881">
                  <c:v>37.722499999999997</c:v>
                </c:pt>
                <c:pt idx="1882">
                  <c:v>39.942</c:v>
                </c:pt>
                <c:pt idx="1883">
                  <c:v>40.462000000000003</c:v>
                </c:pt>
                <c:pt idx="1884">
                  <c:v>41.210799999999999</c:v>
                </c:pt>
                <c:pt idx="1885">
                  <c:v>40.070799999999998</c:v>
                </c:pt>
                <c:pt idx="1886">
                  <c:v>40.435000000000002</c:v>
                </c:pt>
                <c:pt idx="1887">
                  <c:v>39.0991</c:v>
                </c:pt>
                <c:pt idx="1888">
                  <c:v>39.11</c:v>
                </c:pt>
                <c:pt idx="1889">
                  <c:v>42.692500000000003</c:v>
                </c:pt>
                <c:pt idx="1890">
                  <c:v>40.915799999999997</c:v>
                </c:pt>
                <c:pt idx="1891">
                  <c:v>41.476199999999999</c:v>
                </c:pt>
                <c:pt idx="1892">
                  <c:v>41.406199999999998</c:v>
                </c:pt>
                <c:pt idx="1893">
                  <c:v>40.756999999999998</c:v>
                </c:pt>
                <c:pt idx="1894">
                  <c:v>39.932499999999997</c:v>
                </c:pt>
                <c:pt idx="1895">
                  <c:v>39.648299999999999</c:v>
                </c:pt>
                <c:pt idx="1896">
                  <c:v>43.9925</c:v>
                </c:pt>
                <c:pt idx="1897">
                  <c:v>47.182499999999997</c:v>
                </c:pt>
                <c:pt idx="1898">
                  <c:v>50.1158</c:v>
                </c:pt>
                <c:pt idx="1899">
                  <c:v>53.459499999999998</c:v>
                </c:pt>
                <c:pt idx="1900">
                  <c:v>48.588299999999997</c:v>
                </c:pt>
                <c:pt idx="1901">
                  <c:v>42.36</c:v>
                </c:pt>
                <c:pt idx="1902">
                  <c:v>41.233699999999999</c:v>
                </c:pt>
                <c:pt idx="1903">
                  <c:v>42.87</c:v>
                </c:pt>
                <c:pt idx="1904">
                  <c:v>44.955399999999997</c:v>
                </c:pt>
                <c:pt idx="1905">
                  <c:v>48.426200000000001</c:v>
                </c:pt>
                <c:pt idx="1906">
                  <c:v>56.360399999999998</c:v>
                </c:pt>
                <c:pt idx="1907">
                  <c:v>47.032499999999999</c:v>
                </c:pt>
                <c:pt idx="1908">
                  <c:v>44.3491</c:v>
                </c:pt>
                <c:pt idx="1909">
                  <c:v>44.582900000000002</c:v>
                </c:pt>
                <c:pt idx="1910">
                  <c:v>46.397500000000001</c:v>
                </c:pt>
                <c:pt idx="1911">
                  <c:v>45.871200000000002</c:v>
                </c:pt>
                <c:pt idx="1912">
                  <c:v>47.491599999999998</c:v>
                </c:pt>
                <c:pt idx="1913">
                  <c:v>48.4983</c:v>
                </c:pt>
                <c:pt idx="1914">
                  <c:v>47.155000000000001</c:v>
                </c:pt>
                <c:pt idx="1915">
                  <c:v>47.146999999999998</c:v>
                </c:pt>
                <c:pt idx="1916">
                  <c:v>46.403399999999998</c:v>
                </c:pt>
                <c:pt idx="1917">
                  <c:v>47.42</c:v>
                </c:pt>
                <c:pt idx="1918">
                  <c:v>56.375</c:v>
                </c:pt>
                <c:pt idx="1919">
                  <c:v>49.877899999999997</c:v>
                </c:pt>
                <c:pt idx="1920">
                  <c:v>50.410800000000002</c:v>
                </c:pt>
                <c:pt idx="1921">
                  <c:v>52.523299999999999</c:v>
                </c:pt>
                <c:pt idx="1922">
                  <c:v>49.444099999999999</c:v>
                </c:pt>
                <c:pt idx="1923">
                  <c:v>48.565399999999997</c:v>
                </c:pt>
                <c:pt idx="1924">
                  <c:v>58.539099999999998</c:v>
                </c:pt>
                <c:pt idx="1925">
                  <c:v>53.430399999999999</c:v>
                </c:pt>
                <c:pt idx="1926">
                  <c:v>53.575000000000003</c:v>
                </c:pt>
                <c:pt idx="1927">
                  <c:v>54.2029</c:v>
                </c:pt>
                <c:pt idx="1928">
                  <c:v>53.374499999999998</c:v>
                </c:pt>
                <c:pt idx="1929">
                  <c:v>51.402500000000003</c:v>
                </c:pt>
                <c:pt idx="1930">
                  <c:v>47.001600000000003</c:v>
                </c:pt>
                <c:pt idx="1931">
                  <c:v>49.904499999999999</c:v>
                </c:pt>
                <c:pt idx="1932">
                  <c:v>50.384999999999998</c:v>
                </c:pt>
                <c:pt idx="1933">
                  <c:v>45.232500000000002</c:v>
                </c:pt>
                <c:pt idx="1934">
                  <c:v>39.072000000000003</c:v>
                </c:pt>
                <c:pt idx="1935">
                  <c:v>36.983699999999999</c:v>
                </c:pt>
                <c:pt idx="1936">
                  <c:v>38.712499999999999</c:v>
                </c:pt>
                <c:pt idx="1937">
                  <c:v>38.451999999999998</c:v>
                </c:pt>
                <c:pt idx="1938">
                  <c:v>41.999499999999998</c:v>
                </c:pt>
                <c:pt idx="1939">
                  <c:v>37.456200000000003</c:v>
                </c:pt>
                <c:pt idx="1940">
                  <c:v>39.921599999999998</c:v>
                </c:pt>
                <c:pt idx="1941">
                  <c:v>40.715800000000002</c:v>
                </c:pt>
                <c:pt idx="1942">
                  <c:v>40.179499999999997</c:v>
                </c:pt>
                <c:pt idx="1943">
                  <c:v>37.884099999999997</c:v>
                </c:pt>
                <c:pt idx="1944">
                  <c:v>35.836199999999998</c:v>
                </c:pt>
                <c:pt idx="1945">
                  <c:v>38.7729</c:v>
                </c:pt>
                <c:pt idx="1946">
                  <c:v>39.519500000000001</c:v>
                </c:pt>
                <c:pt idx="1947">
                  <c:v>38.770800000000001</c:v>
                </c:pt>
                <c:pt idx="1948">
                  <c:v>41.713700000000003</c:v>
                </c:pt>
                <c:pt idx="1949">
                  <c:v>40.97</c:v>
                </c:pt>
                <c:pt idx="1950">
                  <c:v>38.2637</c:v>
                </c:pt>
                <c:pt idx="1951">
                  <c:v>38.494999999999997</c:v>
                </c:pt>
                <c:pt idx="1952">
                  <c:v>43.744100000000003</c:v>
                </c:pt>
                <c:pt idx="1953">
                  <c:v>40.926200000000001</c:v>
                </c:pt>
                <c:pt idx="1954">
                  <c:v>38.204999999999998</c:v>
                </c:pt>
                <c:pt idx="1955">
                  <c:v>35.252000000000002</c:v>
                </c:pt>
                <c:pt idx="1956">
                  <c:v>35.619100000000003</c:v>
                </c:pt>
                <c:pt idx="1957">
                  <c:v>33.575000000000003</c:v>
                </c:pt>
                <c:pt idx="1958">
                  <c:v>34.169499999999999</c:v>
                </c:pt>
                <c:pt idx="1959">
                  <c:v>39.626199999999997</c:v>
                </c:pt>
                <c:pt idx="1960">
                  <c:v>39.814999999999998</c:v>
                </c:pt>
                <c:pt idx="1961">
                  <c:v>38.692900000000002</c:v>
                </c:pt>
                <c:pt idx="1962">
                  <c:v>36.379100000000001</c:v>
                </c:pt>
                <c:pt idx="1963">
                  <c:v>34.195</c:v>
                </c:pt>
                <c:pt idx="1964">
                  <c:v>30.526199999999999</c:v>
                </c:pt>
                <c:pt idx="1965">
                  <c:v>30.496600000000001</c:v>
                </c:pt>
                <c:pt idx="1966">
                  <c:v>33.046199999999999</c:v>
                </c:pt>
                <c:pt idx="1967">
                  <c:v>37.484999999999999</c:v>
                </c:pt>
                <c:pt idx="1968">
                  <c:v>33.674100000000003</c:v>
                </c:pt>
                <c:pt idx="1969">
                  <c:v>38.195399999999999</c:v>
                </c:pt>
                <c:pt idx="1970">
                  <c:v>38.285400000000003</c:v>
                </c:pt>
                <c:pt idx="1971">
                  <c:v>33.215000000000003</c:v>
                </c:pt>
                <c:pt idx="1972">
                  <c:v>28.7591</c:v>
                </c:pt>
                <c:pt idx="1973">
                  <c:v>40.85</c:v>
                </c:pt>
                <c:pt idx="1974">
                  <c:v>38.6</c:v>
                </c:pt>
                <c:pt idx="1975">
                  <c:v>38.659999999999997</c:v>
                </c:pt>
                <c:pt idx="1976">
                  <c:v>37.04</c:v>
                </c:pt>
                <c:pt idx="1977">
                  <c:v>35.76</c:v>
                </c:pt>
                <c:pt idx="1978">
                  <c:v>33.299999999999997</c:v>
                </c:pt>
                <c:pt idx="1979">
                  <c:v>30.52</c:v>
                </c:pt>
                <c:pt idx="1980">
                  <c:v>36.950000000000003</c:v>
                </c:pt>
                <c:pt idx="1981">
                  <c:v>38.78</c:v>
                </c:pt>
                <c:pt idx="1982">
                  <c:v>39.85</c:v>
                </c:pt>
                <c:pt idx="1983">
                  <c:v>40.340000000000003</c:v>
                </c:pt>
                <c:pt idx="1984">
                  <c:v>39.89</c:v>
                </c:pt>
                <c:pt idx="1985">
                  <c:v>35.58</c:v>
                </c:pt>
                <c:pt idx="1986">
                  <c:v>35.28</c:v>
                </c:pt>
                <c:pt idx="1987">
                  <c:v>39.97</c:v>
                </c:pt>
                <c:pt idx="1988">
                  <c:v>40.97</c:v>
                </c:pt>
                <c:pt idx="1989">
                  <c:v>39.29</c:v>
                </c:pt>
                <c:pt idx="1990">
                  <c:v>36.200000000000003</c:v>
                </c:pt>
                <c:pt idx="1991">
                  <c:v>33.76</c:v>
                </c:pt>
                <c:pt idx="1992">
                  <c:v>32.15</c:v>
                </c:pt>
                <c:pt idx="1993">
                  <c:v>28.34</c:v>
                </c:pt>
                <c:pt idx="1994">
                  <c:v>35.85</c:v>
                </c:pt>
                <c:pt idx="1995">
                  <c:v>35.94</c:v>
                </c:pt>
                <c:pt idx="1996">
                  <c:v>34.130000000000003</c:v>
                </c:pt>
                <c:pt idx="1997">
                  <c:v>34.17</c:v>
                </c:pt>
                <c:pt idx="1998">
                  <c:v>29.14</c:v>
                </c:pt>
                <c:pt idx="1999">
                  <c:v>17.48</c:v>
                </c:pt>
                <c:pt idx="2000">
                  <c:v>19.18</c:v>
                </c:pt>
                <c:pt idx="2001">
                  <c:v>31.39</c:v>
                </c:pt>
                <c:pt idx="2002">
                  <c:v>33.69</c:v>
                </c:pt>
                <c:pt idx="2003">
                  <c:v>30.69</c:v>
                </c:pt>
                <c:pt idx="2004">
                  <c:v>32.68</c:v>
                </c:pt>
                <c:pt idx="2005">
                  <c:v>32.99</c:v>
                </c:pt>
                <c:pt idx="2006">
                  <c:v>29.44</c:v>
                </c:pt>
                <c:pt idx="2007">
                  <c:v>25.96</c:v>
                </c:pt>
                <c:pt idx="2008">
                  <c:v>32.64</c:v>
                </c:pt>
                <c:pt idx="2009">
                  <c:v>33.22</c:v>
                </c:pt>
                <c:pt idx="2010">
                  <c:v>32.19</c:v>
                </c:pt>
                <c:pt idx="2011">
                  <c:v>33.119999999999997</c:v>
                </c:pt>
                <c:pt idx="2012">
                  <c:v>31.69</c:v>
                </c:pt>
                <c:pt idx="2013">
                  <c:v>29.12</c:v>
                </c:pt>
                <c:pt idx="2014">
                  <c:v>28.79</c:v>
                </c:pt>
                <c:pt idx="2015">
                  <c:v>32.119999999999997</c:v>
                </c:pt>
                <c:pt idx="2016">
                  <c:v>31.72</c:v>
                </c:pt>
                <c:pt idx="2017">
                  <c:v>30.94</c:v>
                </c:pt>
                <c:pt idx="2018">
                  <c:v>33.049999999999997</c:v>
                </c:pt>
                <c:pt idx="2019">
                  <c:v>33.56</c:v>
                </c:pt>
                <c:pt idx="2020">
                  <c:v>32.479999999999997</c:v>
                </c:pt>
                <c:pt idx="2021">
                  <c:v>30.72</c:v>
                </c:pt>
                <c:pt idx="2022">
                  <c:v>33.520000000000003</c:v>
                </c:pt>
                <c:pt idx="2023">
                  <c:v>34.659999999999997</c:v>
                </c:pt>
                <c:pt idx="2024">
                  <c:v>36.04</c:v>
                </c:pt>
                <c:pt idx="2025">
                  <c:v>35.86</c:v>
                </c:pt>
                <c:pt idx="2026">
                  <c:v>34.57</c:v>
                </c:pt>
                <c:pt idx="2027">
                  <c:v>34.380000000000003</c:v>
                </c:pt>
                <c:pt idx="2028">
                  <c:v>34.14</c:v>
                </c:pt>
                <c:pt idx="2029">
                  <c:v>36.46</c:v>
                </c:pt>
                <c:pt idx="2030">
                  <c:v>36.270000000000003</c:v>
                </c:pt>
                <c:pt idx="2031">
                  <c:v>37.159999999999997</c:v>
                </c:pt>
                <c:pt idx="2032">
                  <c:v>37.1</c:v>
                </c:pt>
                <c:pt idx="2033">
                  <c:v>36.76</c:v>
                </c:pt>
                <c:pt idx="2034">
                  <c:v>35.19</c:v>
                </c:pt>
                <c:pt idx="2035">
                  <c:v>33.22</c:v>
                </c:pt>
                <c:pt idx="2036">
                  <c:v>36.5</c:v>
                </c:pt>
                <c:pt idx="2037">
                  <c:v>35.53</c:v>
                </c:pt>
                <c:pt idx="2038">
                  <c:v>35.31</c:v>
                </c:pt>
                <c:pt idx="2039">
                  <c:v>36.21</c:v>
                </c:pt>
                <c:pt idx="2040">
                  <c:v>35.159999999999997</c:v>
                </c:pt>
                <c:pt idx="2041">
                  <c:v>33.46</c:v>
                </c:pt>
                <c:pt idx="2042">
                  <c:v>34.130000000000003</c:v>
                </c:pt>
                <c:pt idx="2043">
                  <c:v>35.159999999999997</c:v>
                </c:pt>
                <c:pt idx="2044">
                  <c:v>35.54</c:v>
                </c:pt>
                <c:pt idx="2045">
                  <c:v>36.020000000000003</c:v>
                </c:pt>
                <c:pt idx="2046">
                  <c:v>36.229999999999997</c:v>
                </c:pt>
                <c:pt idx="2047">
                  <c:v>35.94</c:v>
                </c:pt>
                <c:pt idx="2048">
                  <c:v>34.450000000000003</c:v>
                </c:pt>
                <c:pt idx="2049">
                  <c:v>33.47</c:v>
                </c:pt>
                <c:pt idx="2050">
                  <c:v>36.08</c:v>
                </c:pt>
                <c:pt idx="2051">
                  <c:v>35.32</c:v>
                </c:pt>
                <c:pt idx="2052">
                  <c:v>34.659999999999997</c:v>
                </c:pt>
                <c:pt idx="2053">
                  <c:v>35.15</c:v>
                </c:pt>
                <c:pt idx="2054">
                  <c:v>34.67</c:v>
                </c:pt>
                <c:pt idx="2055">
                  <c:v>33.28</c:v>
                </c:pt>
                <c:pt idx="2056">
                  <c:v>29.71</c:v>
                </c:pt>
                <c:pt idx="2057">
                  <c:v>36.81</c:v>
                </c:pt>
                <c:pt idx="2058">
                  <c:v>36.590000000000003</c:v>
                </c:pt>
                <c:pt idx="2059">
                  <c:v>36.369999999999997</c:v>
                </c:pt>
                <c:pt idx="2060">
                  <c:v>36.82</c:v>
                </c:pt>
                <c:pt idx="2061">
                  <c:v>36.17</c:v>
                </c:pt>
                <c:pt idx="2062">
                  <c:v>33.909999999999997</c:v>
                </c:pt>
                <c:pt idx="2063">
                  <c:v>33.6</c:v>
                </c:pt>
                <c:pt idx="2064">
                  <c:v>37.57</c:v>
                </c:pt>
                <c:pt idx="2065">
                  <c:v>37.9</c:v>
                </c:pt>
                <c:pt idx="2066">
                  <c:v>38.229999999999997</c:v>
                </c:pt>
                <c:pt idx="2067">
                  <c:v>37.92</c:v>
                </c:pt>
                <c:pt idx="2068">
                  <c:v>36.85</c:v>
                </c:pt>
                <c:pt idx="2069">
                  <c:v>34.03</c:v>
                </c:pt>
                <c:pt idx="2070">
                  <c:v>32.549999999999997</c:v>
                </c:pt>
                <c:pt idx="2071">
                  <c:v>34.700000000000003</c:v>
                </c:pt>
                <c:pt idx="2072">
                  <c:v>38.04</c:v>
                </c:pt>
                <c:pt idx="2073">
                  <c:v>38.96</c:v>
                </c:pt>
                <c:pt idx="2074">
                  <c:v>38.86</c:v>
                </c:pt>
                <c:pt idx="2075">
                  <c:v>36.92</c:v>
                </c:pt>
                <c:pt idx="2076">
                  <c:v>36.69</c:v>
                </c:pt>
                <c:pt idx="2077">
                  <c:v>35.97</c:v>
                </c:pt>
                <c:pt idx="2078">
                  <c:v>40.6</c:v>
                </c:pt>
                <c:pt idx="2079">
                  <c:v>41.67</c:v>
                </c:pt>
                <c:pt idx="2080">
                  <c:v>42.06</c:v>
                </c:pt>
                <c:pt idx="2081">
                  <c:v>42.04</c:v>
                </c:pt>
                <c:pt idx="2082">
                  <c:v>42.29</c:v>
                </c:pt>
                <c:pt idx="2083">
                  <c:v>38.17</c:v>
                </c:pt>
                <c:pt idx="2084">
                  <c:v>36.44</c:v>
                </c:pt>
                <c:pt idx="2085">
                  <c:v>37.71</c:v>
                </c:pt>
                <c:pt idx="2086">
                  <c:v>38.1</c:v>
                </c:pt>
                <c:pt idx="2087">
                  <c:v>39.22</c:v>
                </c:pt>
                <c:pt idx="2088">
                  <c:v>39.590000000000003</c:v>
                </c:pt>
                <c:pt idx="2089">
                  <c:v>39.46</c:v>
                </c:pt>
                <c:pt idx="2090">
                  <c:v>35.58</c:v>
                </c:pt>
                <c:pt idx="2091">
                  <c:v>33.229999999999997</c:v>
                </c:pt>
                <c:pt idx="2092">
                  <c:v>36.03</c:v>
                </c:pt>
                <c:pt idx="2093">
                  <c:v>40.549999999999997</c:v>
                </c:pt>
                <c:pt idx="2094">
                  <c:v>42.12</c:v>
                </c:pt>
                <c:pt idx="2095">
                  <c:v>40.51</c:v>
                </c:pt>
                <c:pt idx="2096">
                  <c:v>39.729999999999997</c:v>
                </c:pt>
                <c:pt idx="2097">
                  <c:v>37.96</c:v>
                </c:pt>
                <c:pt idx="2098">
                  <c:v>37.15</c:v>
                </c:pt>
                <c:pt idx="2099">
                  <c:v>39.72</c:v>
                </c:pt>
                <c:pt idx="2100">
                  <c:v>41.36</c:v>
                </c:pt>
                <c:pt idx="2101">
                  <c:v>39.659999999999997</c:v>
                </c:pt>
                <c:pt idx="2102">
                  <c:v>37.93</c:v>
                </c:pt>
                <c:pt idx="2103">
                  <c:v>37.74</c:v>
                </c:pt>
                <c:pt idx="2104">
                  <c:v>36.880000000000003</c:v>
                </c:pt>
                <c:pt idx="2105">
                  <c:v>37.25</c:v>
                </c:pt>
                <c:pt idx="2106">
                  <c:v>38.869999999999997</c:v>
                </c:pt>
                <c:pt idx="2107">
                  <c:v>39.049999999999997</c:v>
                </c:pt>
                <c:pt idx="2108">
                  <c:v>37.97</c:v>
                </c:pt>
                <c:pt idx="2109">
                  <c:v>38.69</c:v>
                </c:pt>
                <c:pt idx="2110">
                  <c:v>37.89</c:v>
                </c:pt>
                <c:pt idx="2111">
                  <c:v>37.28</c:v>
                </c:pt>
                <c:pt idx="2112">
                  <c:v>37.450000000000003</c:v>
                </c:pt>
                <c:pt idx="2113">
                  <c:v>41.17</c:v>
                </c:pt>
                <c:pt idx="2114">
                  <c:v>42.08</c:v>
                </c:pt>
                <c:pt idx="2115">
                  <c:v>43.14</c:v>
                </c:pt>
                <c:pt idx="2116">
                  <c:v>40.97</c:v>
                </c:pt>
                <c:pt idx="2117">
                  <c:v>40.92</c:v>
                </c:pt>
                <c:pt idx="2118">
                  <c:v>39.65</c:v>
                </c:pt>
                <c:pt idx="2119">
                  <c:v>39.32</c:v>
                </c:pt>
                <c:pt idx="2120">
                  <c:v>44.11</c:v>
                </c:pt>
                <c:pt idx="2121">
                  <c:v>39.93</c:v>
                </c:pt>
                <c:pt idx="2122">
                  <c:v>37.75</c:v>
                </c:pt>
                <c:pt idx="2123">
                  <c:v>37.35</c:v>
                </c:pt>
                <c:pt idx="2124">
                  <c:v>37.72</c:v>
                </c:pt>
                <c:pt idx="2125">
                  <c:v>33.93</c:v>
                </c:pt>
                <c:pt idx="2126">
                  <c:v>34.28</c:v>
                </c:pt>
                <c:pt idx="2127">
                  <c:v>34.369999999999997</c:v>
                </c:pt>
                <c:pt idx="2128">
                  <c:v>34.76</c:v>
                </c:pt>
                <c:pt idx="2129">
                  <c:v>34.5</c:v>
                </c:pt>
                <c:pt idx="2130">
                  <c:v>34.51</c:v>
                </c:pt>
                <c:pt idx="2131">
                  <c:v>34.53</c:v>
                </c:pt>
                <c:pt idx="2132">
                  <c:v>34.229999999999997</c:v>
                </c:pt>
                <c:pt idx="2133">
                  <c:v>32.93</c:v>
                </c:pt>
                <c:pt idx="2134">
                  <c:v>34.65</c:v>
                </c:pt>
                <c:pt idx="2135">
                  <c:v>36.31</c:v>
                </c:pt>
                <c:pt idx="2136">
                  <c:v>37.229999999999997</c:v>
                </c:pt>
                <c:pt idx="2137">
                  <c:v>36.96</c:v>
                </c:pt>
                <c:pt idx="2138">
                  <c:v>36.72</c:v>
                </c:pt>
                <c:pt idx="2139">
                  <c:v>35.18</c:v>
                </c:pt>
                <c:pt idx="2140">
                  <c:v>34.69</c:v>
                </c:pt>
                <c:pt idx="2141">
                  <c:v>38.11</c:v>
                </c:pt>
                <c:pt idx="2142">
                  <c:v>36.369999999999997</c:v>
                </c:pt>
                <c:pt idx="2143">
                  <c:v>36.4</c:v>
                </c:pt>
                <c:pt idx="2144">
                  <c:v>37.56</c:v>
                </c:pt>
                <c:pt idx="2145">
                  <c:v>36.340000000000003</c:v>
                </c:pt>
                <c:pt idx="2146">
                  <c:v>32.83</c:v>
                </c:pt>
                <c:pt idx="2147">
                  <c:v>33.39</c:v>
                </c:pt>
                <c:pt idx="2148">
                  <c:v>37.53</c:v>
                </c:pt>
                <c:pt idx="2149">
                  <c:v>38.450000000000003</c:v>
                </c:pt>
                <c:pt idx="2150">
                  <c:v>40.909999999999997</c:v>
                </c:pt>
                <c:pt idx="2151">
                  <c:v>41.03</c:v>
                </c:pt>
                <c:pt idx="2152">
                  <c:v>41.14</c:v>
                </c:pt>
                <c:pt idx="2153">
                  <c:v>37.020000000000003</c:v>
                </c:pt>
                <c:pt idx="2154">
                  <c:v>34.97</c:v>
                </c:pt>
                <c:pt idx="2155">
                  <c:v>41.02</c:v>
                </c:pt>
                <c:pt idx="2156">
                  <c:v>41.68</c:v>
                </c:pt>
                <c:pt idx="2157">
                  <c:v>35.86</c:v>
                </c:pt>
                <c:pt idx="2158">
                  <c:v>34.340000000000003</c:v>
                </c:pt>
                <c:pt idx="2159">
                  <c:v>36.76</c:v>
                </c:pt>
                <c:pt idx="2160">
                  <c:v>35.86</c:v>
                </c:pt>
                <c:pt idx="2161">
                  <c:v>33.67</c:v>
                </c:pt>
                <c:pt idx="2162">
                  <c:v>42.03</c:v>
                </c:pt>
                <c:pt idx="2163">
                  <c:v>36.299999999999997</c:v>
                </c:pt>
                <c:pt idx="2164">
                  <c:v>35.380000000000003</c:v>
                </c:pt>
                <c:pt idx="2165">
                  <c:v>34.53</c:v>
                </c:pt>
                <c:pt idx="2166">
                  <c:v>34.15</c:v>
                </c:pt>
                <c:pt idx="2167">
                  <c:v>35.49</c:v>
                </c:pt>
                <c:pt idx="2168">
                  <c:v>35.61</c:v>
                </c:pt>
                <c:pt idx="2169">
                  <c:v>43.09</c:v>
                </c:pt>
                <c:pt idx="2170">
                  <c:v>38.51</c:v>
                </c:pt>
                <c:pt idx="2171">
                  <c:v>36.32</c:v>
                </c:pt>
                <c:pt idx="2172">
                  <c:v>34.11</c:v>
                </c:pt>
                <c:pt idx="2173">
                  <c:v>34.22</c:v>
                </c:pt>
                <c:pt idx="2174">
                  <c:v>32.549999999999997</c:v>
                </c:pt>
                <c:pt idx="2175">
                  <c:v>30.78</c:v>
                </c:pt>
                <c:pt idx="2176">
                  <c:v>31.49</c:v>
                </c:pt>
                <c:pt idx="2177">
                  <c:v>32.799999999999997</c:v>
                </c:pt>
                <c:pt idx="2178">
                  <c:v>33.51</c:v>
                </c:pt>
                <c:pt idx="2179">
                  <c:v>31.21</c:v>
                </c:pt>
                <c:pt idx="2180">
                  <c:v>31.3</c:v>
                </c:pt>
                <c:pt idx="2181">
                  <c:v>28.97</c:v>
                </c:pt>
                <c:pt idx="2182">
                  <c:v>27.68</c:v>
                </c:pt>
                <c:pt idx="2183">
                  <c:v>29.41</c:v>
                </c:pt>
                <c:pt idx="2184">
                  <c:v>27.35</c:v>
                </c:pt>
                <c:pt idx="2185">
                  <c:v>28.27</c:v>
                </c:pt>
                <c:pt idx="2186">
                  <c:v>29.46</c:v>
                </c:pt>
                <c:pt idx="2187">
                  <c:v>29.53</c:v>
                </c:pt>
                <c:pt idx="2188">
                  <c:v>27.9</c:v>
                </c:pt>
                <c:pt idx="2189">
                  <c:v>28.49</c:v>
                </c:pt>
                <c:pt idx="2190">
                  <c:v>29.45</c:v>
                </c:pt>
                <c:pt idx="2191">
                  <c:v>28.99</c:v>
                </c:pt>
                <c:pt idx="2192">
                  <c:v>28.25</c:v>
                </c:pt>
                <c:pt idx="2193">
                  <c:v>29.89</c:v>
                </c:pt>
                <c:pt idx="2194">
                  <c:v>29.3</c:v>
                </c:pt>
                <c:pt idx="2195">
                  <c:v>27.96</c:v>
                </c:pt>
                <c:pt idx="2196">
                  <c:v>29.05</c:v>
                </c:pt>
                <c:pt idx="2197">
                  <c:v>28.19</c:v>
                </c:pt>
                <c:pt idx="2198">
                  <c:v>29.16</c:v>
                </c:pt>
                <c:pt idx="2199">
                  <c:v>29.36</c:v>
                </c:pt>
                <c:pt idx="2200">
                  <c:v>29.72</c:v>
                </c:pt>
                <c:pt idx="2201">
                  <c:v>30.17</c:v>
                </c:pt>
                <c:pt idx="2202">
                  <c:v>29.82</c:v>
                </c:pt>
                <c:pt idx="2203">
                  <c:v>30.4</c:v>
                </c:pt>
                <c:pt idx="2204">
                  <c:v>39.159999999999997</c:v>
                </c:pt>
                <c:pt idx="2205">
                  <c:v>41.65</c:v>
                </c:pt>
                <c:pt idx="2206">
                  <c:v>41.6</c:v>
                </c:pt>
                <c:pt idx="2207">
                  <c:v>32.53</c:v>
                </c:pt>
                <c:pt idx="2208">
                  <c:v>34.21</c:v>
                </c:pt>
                <c:pt idx="2209">
                  <c:v>30.9</c:v>
                </c:pt>
                <c:pt idx="2210">
                  <c:v>30.7</c:v>
                </c:pt>
                <c:pt idx="2211">
                  <c:v>34.590000000000003</c:v>
                </c:pt>
                <c:pt idx="2212">
                  <c:v>42.12</c:v>
                </c:pt>
                <c:pt idx="2213">
                  <c:v>42.43</c:v>
                </c:pt>
                <c:pt idx="2214">
                  <c:v>40.4</c:v>
                </c:pt>
                <c:pt idx="2215">
                  <c:v>41.52</c:v>
                </c:pt>
                <c:pt idx="2216">
                  <c:v>32.520000000000003</c:v>
                </c:pt>
                <c:pt idx="2217">
                  <c:v>31.56</c:v>
                </c:pt>
                <c:pt idx="2218">
                  <c:v>33.020000000000003</c:v>
                </c:pt>
                <c:pt idx="2219">
                  <c:v>33.869999999999997</c:v>
                </c:pt>
                <c:pt idx="2220">
                  <c:v>34.450000000000003</c:v>
                </c:pt>
                <c:pt idx="2221">
                  <c:v>35.93</c:v>
                </c:pt>
                <c:pt idx="2222">
                  <c:v>37.15</c:v>
                </c:pt>
                <c:pt idx="2223">
                  <c:v>31.1</c:v>
                </c:pt>
                <c:pt idx="2224">
                  <c:v>30.27</c:v>
                </c:pt>
                <c:pt idx="2225">
                  <c:v>33.24</c:v>
                </c:pt>
                <c:pt idx="2226">
                  <c:v>32.409999999999997</c:v>
                </c:pt>
                <c:pt idx="2227">
                  <c:v>31.85</c:v>
                </c:pt>
                <c:pt idx="2228">
                  <c:v>31.42</c:v>
                </c:pt>
                <c:pt idx="2229">
                  <c:v>30.41</c:v>
                </c:pt>
                <c:pt idx="2230">
                  <c:v>28.84</c:v>
                </c:pt>
                <c:pt idx="2231">
                  <c:v>28.17</c:v>
                </c:pt>
                <c:pt idx="2232">
                  <c:v>31.08</c:v>
                </c:pt>
                <c:pt idx="2233">
                  <c:v>31.84</c:v>
                </c:pt>
                <c:pt idx="2234">
                  <c:v>31.42</c:v>
                </c:pt>
                <c:pt idx="2235">
                  <c:v>31</c:v>
                </c:pt>
                <c:pt idx="2236">
                  <c:v>31.02</c:v>
                </c:pt>
                <c:pt idx="2237">
                  <c:v>27.74</c:v>
                </c:pt>
                <c:pt idx="2238">
                  <c:v>27.64</c:v>
                </c:pt>
                <c:pt idx="2239">
                  <c:v>30.47</c:v>
                </c:pt>
                <c:pt idx="2240">
                  <c:v>31.67</c:v>
                </c:pt>
                <c:pt idx="2241">
                  <c:v>33.79</c:v>
                </c:pt>
                <c:pt idx="2242">
                  <c:v>32.01</c:v>
                </c:pt>
                <c:pt idx="2243">
                  <c:v>29.79</c:v>
                </c:pt>
                <c:pt idx="2244">
                  <c:v>27.72</c:v>
                </c:pt>
                <c:pt idx="2245">
                  <c:v>26.18</c:v>
                </c:pt>
                <c:pt idx="2246">
                  <c:v>27.55</c:v>
                </c:pt>
                <c:pt idx="2247">
                  <c:v>28.2</c:v>
                </c:pt>
                <c:pt idx="2248">
                  <c:v>30.18</c:v>
                </c:pt>
                <c:pt idx="2249">
                  <c:v>29.63</c:v>
                </c:pt>
                <c:pt idx="2250">
                  <c:v>29.83</c:v>
                </c:pt>
                <c:pt idx="2251">
                  <c:v>28.89</c:v>
                </c:pt>
                <c:pt idx="2252">
                  <c:v>27.79</c:v>
                </c:pt>
                <c:pt idx="2253">
                  <c:v>28.17</c:v>
                </c:pt>
                <c:pt idx="2254">
                  <c:v>30.61</c:v>
                </c:pt>
                <c:pt idx="2255">
                  <c:v>31.27</c:v>
                </c:pt>
                <c:pt idx="2256">
                  <c:v>28.57</c:v>
                </c:pt>
                <c:pt idx="2257">
                  <c:v>26.37</c:v>
                </c:pt>
                <c:pt idx="2258">
                  <c:v>25.62</c:v>
                </c:pt>
                <c:pt idx="2259">
                  <c:v>23.53</c:v>
                </c:pt>
                <c:pt idx="2260">
                  <c:v>26.51</c:v>
                </c:pt>
                <c:pt idx="2261">
                  <c:v>27.21</c:v>
                </c:pt>
                <c:pt idx="2262">
                  <c:v>26.99</c:v>
                </c:pt>
                <c:pt idx="2263">
                  <c:v>27.19</c:v>
                </c:pt>
                <c:pt idx="2264">
                  <c:v>26.35</c:v>
                </c:pt>
                <c:pt idx="2265">
                  <c:v>23.47</c:v>
                </c:pt>
                <c:pt idx="2266">
                  <c:v>23.98</c:v>
                </c:pt>
                <c:pt idx="2267">
                  <c:v>25.9</c:v>
                </c:pt>
                <c:pt idx="2268">
                  <c:v>26.85</c:v>
                </c:pt>
                <c:pt idx="2269">
                  <c:v>25.54</c:v>
                </c:pt>
                <c:pt idx="2270">
                  <c:v>24.43</c:v>
                </c:pt>
                <c:pt idx="2271">
                  <c:v>23.49</c:v>
                </c:pt>
                <c:pt idx="2272">
                  <c:v>24.13</c:v>
                </c:pt>
                <c:pt idx="2273">
                  <c:v>23.76</c:v>
                </c:pt>
                <c:pt idx="2274">
                  <c:v>27.59</c:v>
                </c:pt>
                <c:pt idx="2275">
                  <c:v>27.32</c:v>
                </c:pt>
                <c:pt idx="2276">
                  <c:v>27.33</c:v>
                </c:pt>
                <c:pt idx="2277">
                  <c:v>28.08</c:v>
                </c:pt>
                <c:pt idx="2278">
                  <c:v>28.57</c:v>
                </c:pt>
                <c:pt idx="2279">
                  <c:v>27.09</c:v>
                </c:pt>
                <c:pt idx="2280">
                  <c:v>26.78</c:v>
                </c:pt>
                <c:pt idx="2281">
                  <c:v>29.47</c:v>
                </c:pt>
                <c:pt idx="2282">
                  <c:v>31.66</c:v>
                </c:pt>
                <c:pt idx="2283">
                  <c:v>31.3</c:v>
                </c:pt>
                <c:pt idx="2284">
                  <c:v>29.77</c:v>
                </c:pt>
                <c:pt idx="2285">
                  <c:v>28.07</c:v>
                </c:pt>
                <c:pt idx="2286">
                  <c:v>27.09</c:v>
                </c:pt>
                <c:pt idx="2287">
                  <c:v>25.85</c:v>
                </c:pt>
                <c:pt idx="2288">
                  <c:v>28.1</c:v>
                </c:pt>
                <c:pt idx="2289">
                  <c:v>25.96</c:v>
                </c:pt>
                <c:pt idx="2290">
                  <c:v>25.51</c:v>
                </c:pt>
                <c:pt idx="2291">
                  <c:v>29.17</c:v>
                </c:pt>
                <c:pt idx="2292">
                  <c:v>26.82</c:v>
                </c:pt>
                <c:pt idx="2293">
                  <c:v>24.18</c:v>
                </c:pt>
                <c:pt idx="2294">
                  <c:v>19.39</c:v>
                </c:pt>
                <c:pt idx="2295">
                  <c:v>22.95</c:v>
                </c:pt>
                <c:pt idx="2296">
                  <c:v>24.1</c:v>
                </c:pt>
                <c:pt idx="2297">
                  <c:v>25.75</c:v>
                </c:pt>
                <c:pt idx="2298">
                  <c:v>23.27</c:v>
                </c:pt>
                <c:pt idx="2299">
                  <c:v>23.31</c:v>
                </c:pt>
                <c:pt idx="2300">
                  <c:v>24</c:v>
                </c:pt>
                <c:pt idx="2301">
                  <c:v>21.76</c:v>
                </c:pt>
                <c:pt idx="2302">
                  <c:v>21.94</c:v>
                </c:pt>
                <c:pt idx="2303">
                  <c:v>24.14</c:v>
                </c:pt>
                <c:pt idx="2304">
                  <c:v>24.04</c:v>
                </c:pt>
                <c:pt idx="2305">
                  <c:v>25.56</c:v>
                </c:pt>
                <c:pt idx="2306">
                  <c:v>26.02</c:v>
                </c:pt>
                <c:pt idx="2307">
                  <c:v>24.15</c:v>
                </c:pt>
                <c:pt idx="2308">
                  <c:v>22.13</c:v>
                </c:pt>
                <c:pt idx="2309">
                  <c:v>25.96</c:v>
                </c:pt>
                <c:pt idx="2310">
                  <c:v>26.02</c:v>
                </c:pt>
                <c:pt idx="2311">
                  <c:v>27.73</c:v>
                </c:pt>
                <c:pt idx="2312">
                  <c:v>23.38</c:v>
                </c:pt>
                <c:pt idx="2313">
                  <c:v>26.2</c:v>
                </c:pt>
                <c:pt idx="2314">
                  <c:v>24.68</c:v>
                </c:pt>
                <c:pt idx="2315">
                  <c:v>25.35</c:v>
                </c:pt>
                <c:pt idx="2316">
                  <c:v>29.78</c:v>
                </c:pt>
                <c:pt idx="2317">
                  <c:v>28.96</c:v>
                </c:pt>
                <c:pt idx="2318">
                  <c:v>29.79</c:v>
                </c:pt>
                <c:pt idx="2319">
                  <c:v>30.66</c:v>
                </c:pt>
                <c:pt idx="2320">
                  <c:v>30.83</c:v>
                </c:pt>
                <c:pt idx="2321">
                  <c:v>26.69</c:v>
                </c:pt>
                <c:pt idx="2322">
                  <c:v>26.42</c:v>
                </c:pt>
                <c:pt idx="2323">
                  <c:v>32.659999999999997</c:v>
                </c:pt>
                <c:pt idx="2324">
                  <c:v>32.090000000000003</c:v>
                </c:pt>
                <c:pt idx="2325">
                  <c:v>31.72</c:v>
                </c:pt>
                <c:pt idx="2326">
                  <c:v>30.95</c:v>
                </c:pt>
                <c:pt idx="2327">
                  <c:v>28.5</c:v>
                </c:pt>
                <c:pt idx="2328">
                  <c:v>23.48</c:v>
                </c:pt>
                <c:pt idx="2329">
                  <c:v>22.08</c:v>
                </c:pt>
                <c:pt idx="2330">
                  <c:v>27.64</c:v>
                </c:pt>
                <c:pt idx="2331">
                  <c:v>27.69</c:v>
                </c:pt>
                <c:pt idx="2332">
                  <c:v>26.36</c:v>
                </c:pt>
                <c:pt idx="2333">
                  <c:v>24.31</c:v>
                </c:pt>
                <c:pt idx="2334">
                  <c:v>24.63</c:v>
                </c:pt>
                <c:pt idx="2335">
                  <c:v>18.77</c:v>
                </c:pt>
                <c:pt idx="2336">
                  <c:v>17.559999999999999</c:v>
                </c:pt>
                <c:pt idx="2337">
                  <c:v>28.08</c:v>
                </c:pt>
                <c:pt idx="2338">
                  <c:v>25.88</c:v>
                </c:pt>
                <c:pt idx="2339">
                  <c:v>25.24</c:v>
                </c:pt>
                <c:pt idx="2340">
                  <c:v>20.86</c:v>
                </c:pt>
                <c:pt idx="2341">
                  <c:v>25.56</c:v>
                </c:pt>
                <c:pt idx="2342">
                  <c:v>18.64</c:v>
                </c:pt>
                <c:pt idx="2343">
                  <c:v>19.350000000000001</c:v>
                </c:pt>
                <c:pt idx="2344">
                  <c:v>28.42</c:v>
                </c:pt>
                <c:pt idx="2345">
                  <c:v>28.98</c:v>
                </c:pt>
                <c:pt idx="2346">
                  <c:v>28.31</c:v>
                </c:pt>
                <c:pt idx="2347">
                  <c:v>26.11</c:v>
                </c:pt>
                <c:pt idx="2348">
                  <c:v>24.6</c:v>
                </c:pt>
                <c:pt idx="2349">
                  <c:v>20.55</c:v>
                </c:pt>
                <c:pt idx="2350">
                  <c:v>18.87</c:v>
                </c:pt>
                <c:pt idx="2351">
                  <c:v>23.27</c:v>
                </c:pt>
                <c:pt idx="2352">
                  <c:v>25.68</c:v>
                </c:pt>
                <c:pt idx="2353">
                  <c:v>26.62</c:v>
                </c:pt>
                <c:pt idx="2354">
                  <c:v>26.63</c:v>
                </c:pt>
                <c:pt idx="2355">
                  <c:v>22.34</c:v>
                </c:pt>
                <c:pt idx="2356">
                  <c:v>18.72</c:v>
                </c:pt>
                <c:pt idx="2357">
                  <c:v>18.899999999999999</c:v>
                </c:pt>
                <c:pt idx="2358">
                  <c:v>25.44</c:v>
                </c:pt>
                <c:pt idx="2359">
                  <c:v>27.96</c:v>
                </c:pt>
                <c:pt idx="2360">
                  <c:v>26.85</c:v>
                </c:pt>
                <c:pt idx="2361">
                  <c:v>23.62</c:v>
                </c:pt>
                <c:pt idx="2362">
                  <c:v>22.17</c:v>
                </c:pt>
                <c:pt idx="2363">
                  <c:v>20.71</c:v>
                </c:pt>
                <c:pt idx="2364">
                  <c:v>20.190000000000001</c:v>
                </c:pt>
                <c:pt idx="2365">
                  <c:v>26.69</c:v>
                </c:pt>
                <c:pt idx="2366">
                  <c:v>30.25</c:v>
                </c:pt>
                <c:pt idx="2367">
                  <c:v>30.86</c:v>
                </c:pt>
                <c:pt idx="2368">
                  <c:v>30.7</c:v>
                </c:pt>
                <c:pt idx="2369">
                  <c:v>29.68</c:v>
                </c:pt>
                <c:pt idx="2370">
                  <c:v>27.13</c:v>
                </c:pt>
                <c:pt idx="2371">
                  <c:v>26.02</c:v>
                </c:pt>
                <c:pt idx="2372">
                  <c:v>30.11</c:v>
                </c:pt>
                <c:pt idx="2373">
                  <c:v>30.5</c:v>
                </c:pt>
                <c:pt idx="2374">
                  <c:v>29.63</c:v>
                </c:pt>
                <c:pt idx="2375">
                  <c:v>27.66</c:v>
                </c:pt>
                <c:pt idx="2376">
                  <c:v>27.94</c:v>
                </c:pt>
                <c:pt idx="2377">
                  <c:v>26.44</c:v>
                </c:pt>
                <c:pt idx="2378">
                  <c:v>24.78</c:v>
                </c:pt>
                <c:pt idx="2379">
                  <c:v>27.91</c:v>
                </c:pt>
                <c:pt idx="2380">
                  <c:v>27.18</c:v>
                </c:pt>
                <c:pt idx="2381">
                  <c:v>25.98</c:v>
                </c:pt>
                <c:pt idx="2382">
                  <c:v>27.47</c:v>
                </c:pt>
                <c:pt idx="2383">
                  <c:v>27.94</c:v>
                </c:pt>
                <c:pt idx="2384">
                  <c:v>26.79</c:v>
                </c:pt>
                <c:pt idx="2385">
                  <c:v>24.84</c:v>
                </c:pt>
                <c:pt idx="2386">
                  <c:v>27.44</c:v>
                </c:pt>
                <c:pt idx="2387">
                  <c:v>28.88</c:v>
                </c:pt>
                <c:pt idx="2388">
                  <c:v>29.3</c:v>
                </c:pt>
                <c:pt idx="2389">
                  <c:v>29.3</c:v>
                </c:pt>
                <c:pt idx="2390">
                  <c:v>28.94</c:v>
                </c:pt>
                <c:pt idx="2391">
                  <c:v>27.66</c:v>
                </c:pt>
                <c:pt idx="2392">
                  <c:v>24.87</c:v>
                </c:pt>
                <c:pt idx="2393">
                  <c:v>28.14</c:v>
                </c:pt>
                <c:pt idx="2394">
                  <c:v>29.23</c:v>
                </c:pt>
                <c:pt idx="2395">
                  <c:v>29.71</c:v>
                </c:pt>
                <c:pt idx="2396">
                  <c:v>29.51</c:v>
                </c:pt>
                <c:pt idx="2397">
                  <c:v>29.93</c:v>
                </c:pt>
                <c:pt idx="2398">
                  <c:v>30.39</c:v>
                </c:pt>
                <c:pt idx="2399">
                  <c:v>29.98</c:v>
                </c:pt>
                <c:pt idx="2400">
                  <c:v>31.68</c:v>
                </c:pt>
                <c:pt idx="2401">
                  <c:v>31.85</c:v>
                </c:pt>
                <c:pt idx="2402">
                  <c:v>31.33</c:v>
                </c:pt>
                <c:pt idx="2403">
                  <c:v>31.04</c:v>
                </c:pt>
                <c:pt idx="2404">
                  <c:v>31.03</c:v>
                </c:pt>
                <c:pt idx="2405">
                  <c:v>29.24</c:v>
                </c:pt>
                <c:pt idx="2406">
                  <c:v>29.51</c:v>
                </c:pt>
                <c:pt idx="2407">
                  <c:v>31.89</c:v>
                </c:pt>
                <c:pt idx="2408">
                  <c:v>32.21</c:v>
                </c:pt>
                <c:pt idx="2409">
                  <c:v>32.46</c:v>
                </c:pt>
                <c:pt idx="2410">
                  <c:v>32.659999999999997</c:v>
                </c:pt>
                <c:pt idx="2411">
                  <c:v>32.46</c:v>
                </c:pt>
                <c:pt idx="2412">
                  <c:v>29.06</c:v>
                </c:pt>
                <c:pt idx="2413">
                  <c:v>28.83</c:v>
                </c:pt>
                <c:pt idx="2414">
                  <c:v>29.73</c:v>
                </c:pt>
                <c:pt idx="2415">
                  <c:v>31.66</c:v>
                </c:pt>
                <c:pt idx="2416">
                  <c:v>32.61</c:v>
                </c:pt>
                <c:pt idx="2417">
                  <c:v>32.75</c:v>
                </c:pt>
                <c:pt idx="2418">
                  <c:v>32.869999999999997</c:v>
                </c:pt>
                <c:pt idx="2419">
                  <c:v>30.61</c:v>
                </c:pt>
                <c:pt idx="2420">
                  <c:v>29.73</c:v>
                </c:pt>
                <c:pt idx="2421">
                  <c:v>32.57</c:v>
                </c:pt>
                <c:pt idx="2422">
                  <c:v>33.119999999999997</c:v>
                </c:pt>
                <c:pt idx="2423">
                  <c:v>32.74</c:v>
                </c:pt>
                <c:pt idx="2424">
                  <c:v>33.090000000000003</c:v>
                </c:pt>
                <c:pt idx="2425">
                  <c:v>32.97</c:v>
                </c:pt>
                <c:pt idx="2426">
                  <c:v>30.76</c:v>
                </c:pt>
                <c:pt idx="2427">
                  <c:v>30.43</c:v>
                </c:pt>
                <c:pt idx="2428">
                  <c:v>33.840000000000003</c:v>
                </c:pt>
                <c:pt idx="2429">
                  <c:v>36.32</c:v>
                </c:pt>
                <c:pt idx="2430">
                  <c:v>35.229999999999997</c:v>
                </c:pt>
                <c:pt idx="2431">
                  <c:v>34.590000000000003</c:v>
                </c:pt>
                <c:pt idx="2432">
                  <c:v>33.840000000000003</c:v>
                </c:pt>
                <c:pt idx="2433">
                  <c:v>32.53</c:v>
                </c:pt>
                <c:pt idx="2434">
                  <c:v>32.869999999999997</c:v>
                </c:pt>
                <c:pt idx="2435">
                  <c:v>34.950000000000003</c:v>
                </c:pt>
                <c:pt idx="2436">
                  <c:v>35.659999999999997</c:v>
                </c:pt>
                <c:pt idx="2437">
                  <c:v>34.96</c:v>
                </c:pt>
                <c:pt idx="2438">
                  <c:v>34.46</c:v>
                </c:pt>
                <c:pt idx="2439">
                  <c:v>35.42</c:v>
                </c:pt>
                <c:pt idx="2440">
                  <c:v>33.76</c:v>
                </c:pt>
                <c:pt idx="2441">
                  <c:v>33.69</c:v>
                </c:pt>
                <c:pt idx="2442">
                  <c:v>34.71</c:v>
                </c:pt>
                <c:pt idx="2443">
                  <c:v>34.51</c:v>
                </c:pt>
                <c:pt idx="2444">
                  <c:v>34.74</c:v>
                </c:pt>
                <c:pt idx="2445">
                  <c:v>34.94</c:v>
                </c:pt>
                <c:pt idx="2446">
                  <c:v>34.61</c:v>
                </c:pt>
                <c:pt idx="2447">
                  <c:v>34.07</c:v>
                </c:pt>
                <c:pt idx="2448">
                  <c:v>33.69</c:v>
                </c:pt>
                <c:pt idx="2449">
                  <c:v>36.44</c:v>
                </c:pt>
                <c:pt idx="2450">
                  <c:v>37.57</c:v>
                </c:pt>
                <c:pt idx="2451">
                  <c:v>36.56</c:v>
                </c:pt>
                <c:pt idx="2452">
                  <c:v>36.71</c:v>
                </c:pt>
                <c:pt idx="2453">
                  <c:v>36.6</c:v>
                </c:pt>
                <c:pt idx="2454">
                  <c:v>35.090000000000003</c:v>
                </c:pt>
                <c:pt idx="2455">
                  <c:v>33.72</c:v>
                </c:pt>
                <c:pt idx="2456">
                  <c:v>34.25</c:v>
                </c:pt>
                <c:pt idx="2457">
                  <c:v>37.22</c:v>
                </c:pt>
                <c:pt idx="2458">
                  <c:v>36.450000000000003</c:v>
                </c:pt>
                <c:pt idx="2459">
                  <c:v>35.119999999999997</c:v>
                </c:pt>
                <c:pt idx="2460">
                  <c:v>33.619999999999997</c:v>
                </c:pt>
                <c:pt idx="2461">
                  <c:v>31.86</c:v>
                </c:pt>
                <c:pt idx="2462">
                  <c:v>32.33</c:v>
                </c:pt>
                <c:pt idx="2463">
                  <c:v>34.020000000000003</c:v>
                </c:pt>
                <c:pt idx="2464">
                  <c:v>35.58</c:v>
                </c:pt>
                <c:pt idx="2465">
                  <c:v>35.450000000000003</c:v>
                </c:pt>
                <c:pt idx="2466">
                  <c:v>35.450000000000003</c:v>
                </c:pt>
                <c:pt idx="2467">
                  <c:v>33.590000000000003</c:v>
                </c:pt>
                <c:pt idx="2468">
                  <c:v>32.01</c:v>
                </c:pt>
                <c:pt idx="2469">
                  <c:v>31.83</c:v>
                </c:pt>
                <c:pt idx="2470">
                  <c:v>32.369999999999997</c:v>
                </c:pt>
                <c:pt idx="2471">
                  <c:v>32.03</c:v>
                </c:pt>
                <c:pt idx="2472">
                  <c:v>32.4</c:v>
                </c:pt>
                <c:pt idx="2473">
                  <c:v>32.799999999999997</c:v>
                </c:pt>
                <c:pt idx="2474">
                  <c:v>32.29</c:v>
                </c:pt>
                <c:pt idx="2475">
                  <c:v>32.69</c:v>
                </c:pt>
                <c:pt idx="2476">
                  <c:v>32.409999999999997</c:v>
                </c:pt>
                <c:pt idx="2477">
                  <c:v>33.86</c:v>
                </c:pt>
                <c:pt idx="2478">
                  <c:v>34.21</c:v>
                </c:pt>
                <c:pt idx="2479">
                  <c:v>33.97</c:v>
                </c:pt>
                <c:pt idx="2480">
                  <c:v>34.19</c:v>
                </c:pt>
                <c:pt idx="2481">
                  <c:v>33.450000000000003</c:v>
                </c:pt>
                <c:pt idx="2482">
                  <c:v>31.52</c:v>
                </c:pt>
                <c:pt idx="2483">
                  <c:v>28.55</c:v>
                </c:pt>
                <c:pt idx="2484">
                  <c:v>28.66</c:v>
                </c:pt>
                <c:pt idx="2485">
                  <c:v>30.98</c:v>
                </c:pt>
                <c:pt idx="2486">
                  <c:v>30.73</c:v>
                </c:pt>
                <c:pt idx="2487">
                  <c:v>31.12</c:v>
                </c:pt>
                <c:pt idx="2488">
                  <c:v>28.27</c:v>
                </c:pt>
                <c:pt idx="2489">
                  <c:v>26.06</c:v>
                </c:pt>
                <c:pt idx="2490">
                  <c:v>21.21</c:v>
                </c:pt>
                <c:pt idx="2491">
                  <c:v>22.68</c:v>
                </c:pt>
                <c:pt idx="2492">
                  <c:v>21.39</c:v>
                </c:pt>
                <c:pt idx="2493">
                  <c:v>25.01</c:v>
                </c:pt>
                <c:pt idx="2494">
                  <c:v>28.77</c:v>
                </c:pt>
                <c:pt idx="2495">
                  <c:v>29.43</c:v>
                </c:pt>
                <c:pt idx="2496">
                  <c:v>23.18</c:v>
                </c:pt>
                <c:pt idx="2497">
                  <c:v>18.68</c:v>
                </c:pt>
                <c:pt idx="2498">
                  <c:v>22.08</c:v>
                </c:pt>
                <c:pt idx="2499">
                  <c:v>26.13</c:v>
                </c:pt>
                <c:pt idx="2500">
                  <c:v>30.03</c:v>
                </c:pt>
                <c:pt idx="2501">
                  <c:v>31</c:v>
                </c:pt>
                <c:pt idx="2502">
                  <c:v>30.56</c:v>
                </c:pt>
                <c:pt idx="2503">
                  <c:v>27.33</c:v>
                </c:pt>
                <c:pt idx="2504">
                  <c:v>25.72</c:v>
                </c:pt>
                <c:pt idx="2505">
                  <c:v>29.42</c:v>
                </c:pt>
                <c:pt idx="2506">
                  <c:v>30.14</c:v>
                </c:pt>
                <c:pt idx="2507">
                  <c:v>29.96</c:v>
                </c:pt>
                <c:pt idx="2508">
                  <c:v>31.13</c:v>
                </c:pt>
                <c:pt idx="2509">
                  <c:v>30.73</c:v>
                </c:pt>
                <c:pt idx="2510">
                  <c:v>28.87</c:v>
                </c:pt>
                <c:pt idx="2511">
                  <c:v>28.01</c:v>
                </c:pt>
                <c:pt idx="2512">
                  <c:v>30.89</c:v>
                </c:pt>
                <c:pt idx="2513">
                  <c:v>31.83</c:v>
                </c:pt>
                <c:pt idx="2514">
                  <c:v>33.35</c:v>
                </c:pt>
                <c:pt idx="2515">
                  <c:v>34.130000000000003</c:v>
                </c:pt>
                <c:pt idx="2516">
                  <c:v>34.36</c:v>
                </c:pt>
                <c:pt idx="2517">
                  <c:v>32.130000000000003</c:v>
                </c:pt>
                <c:pt idx="2518">
                  <c:v>30.2</c:v>
                </c:pt>
                <c:pt idx="2519">
                  <c:v>30.56</c:v>
                </c:pt>
                <c:pt idx="2520">
                  <c:v>33.229999999999997</c:v>
                </c:pt>
                <c:pt idx="2521">
                  <c:v>33.729999999999997</c:v>
                </c:pt>
                <c:pt idx="2522">
                  <c:v>32.880000000000003</c:v>
                </c:pt>
                <c:pt idx="2523">
                  <c:v>32.18</c:v>
                </c:pt>
                <c:pt idx="2524">
                  <c:v>31.71</c:v>
                </c:pt>
                <c:pt idx="2525">
                  <c:v>31.88</c:v>
                </c:pt>
                <c:pt idx="2526">
                  <c:v>32.950000000000003</c:v>
                </c:pt>
                <c:pt idx="2527">
                  <c:v>33.880000000000003</c:v>
                </c:pt>
                <c:pt idx="2528">
                  <c:v>34.29</c:v>
                </c:pt>
                <c:pt idx="2529">
                  <c:v>35.36</c:v>
                </c:pt>
                <c:pt idx="2530">
                  <c:v>33.26</c:v>
                </c:pt>
                <c:pt idx="2531">
                  <c:v>32</c:v>
                </c:pt>
                <c:pt idx="2532">
                  <c:v>30.36</c:v>
                </c:pt>
                <c:pt idx="2533">
                  <c:v>32.33</c:v>
                </c:pt>
                <c:pt idx="2534">
                  <c:v>33.299999999999997</c:v>
                </c:pt>
                <c:pt idx="2535">
                  <c:v>30.34</c:v>
                </c:pt>
                <c:pt idx="2536">
                  <c:v>30.53</c:v>
                </c:pt>
                <c:pt idx="2537">
                  <c:v>30.99</c:v>
                </c:pt>
                <c:pt idx="2538">
                  <c:v>30.59</c:v>
                </c:pt>
                <c:pt idx="2539">
                  <c:v>30.39</c:v>
                </c:pt>
                <c:pt idx="2540">
                  <c:v>30.43</c:v>
                </c:pt>
                <c:pt idx="2541">
                  <c:v>31.44</c:v>
                </c:pt>
                <c:pt idx="2542">
                  <c:v>32.22</c:v>
                </c:pt>
                <c:pt idx="2543">
                  <c:v>31.44</c:v>
                </c:pt>
                <c:pt idx="2544">
                  <c:v>30.31</c:v>
                </c:pt>
                <c:pt idx="2545">
                  <c:v>28.99</c:v>
                </c:pt>
                <c:pt idx="2546">
                  <c:v>29.43</c:v>
                </c:pt>
                <c:pt idx="2547">
                  <c:v>29.24</c:v>
                </c:pt>
                <c:pt idx="2548">
                  <c:v>29.49</c:v>
                </c:pt>
                <c:pt idx="2549">
                  <c:v>29.45</c:v>
                </c:pt>
                <c:pt idx="2550">
                  <c:v>29.92</c:v>
                </c:pt>
                <c:pt idx="2551">
                  <c:v>31.08</c:v>
                </c:pt>
                <c:pt idx="2552">
                  <c:v>31.48</c:v>
                </c:pt>
                <c:pt idx="2553">
                  <c:v>32.94</c:v>
                </c:pt>
                <c:pt idx="2554">
                  <c:v>42.91</c:v>
                </c:pt>
                <c:pt idx="2555">
                  <c:v>31.35</c:v>
                </c:pt>
                <c:pt idx="2556">
                  <c:v>29.09</c:v>
                </c:pt>
                <c:pt idx="2557">
                  <c:v>26.99</c:v>
                </c:pt>
                <c:pt idx="2558">
                  <c:v>26.45</c:v>
                </c:pt>
                <c:pt idx="2559">
                  <c:v>26.81</c:v>
                </c:pt>
                <c:pt idx="2560">
                  <c:v>28.12</c:v>
                </c:pt>
                <c:pt idx="2561">
                  <c:v>36.549999999999997</c:v>
                </c:pt>
                <c:pt idx="2562">
                  <c:v>29.72</c:v>
                </c:pt>
                <c:pt idx="2563">
                  <c:v>30.55</c:v>
                </c:pt>
                <c:pt idx="2564">
                  <c:v>28.16</c:v>
                </c:pt>
                <c:pt idx="2565">
                  <c:v>27.79</c:v>
                </c:pt>
                <c:pt idx="2566">
                  <c:v>26.48</c:v>
                </c:pt>
                <c:pt idx="2567">
                  <c:v>25.82</c:v>
                </c:pt>
                <c:pt idx="2568">
                  <c:v>29.3</c:v>
                </c:pt>
                <c:pt idx="2569">
                  <c:v>29.67</c:v>
                </c:pt>
                <c:pt idx="2570">
                  <c:v>29.69</c:v>
                </c:pt>
                <c:pt idx="2571">
                  <c:v>28.09</c:v>
                </c:pt>
                <c:pt idx="2572">
                  <c:v>27.97</c:v>
                </c:pt>
                <c:pt idx="2573">
                  <c:v>28.09</c:v>
                </c:pt>
                <c:pt idx="2574">
                  <c:v>28.15</c:v>
                </c:pt>
                <c:pt idx="2575">
                  <c:v>34.36</c:v>
                </c:pt>
                <c:pt idx="2576">
                  <c:v>35.54</c:v>
                </c:pt>
                <c:pt idx="2577">
                  <c:v>38.880000000000003</c:v>
                </c:pt>
                <c:pt idx="2578">
                  <c:v>39.729999999999997</c:v>
                </c:pt>
                <c:pt idx="2579">
                  <c:v>39.56</c:v>
                </c:pt>
                <c:pt idx="2580">
                  <c:v>28.43</c:v>
                </c:pt>
                <c:pt idx="2581">
                  <c:v>28.7</c:v>
                </c:pt>
                <c:pt idx="2582">
                  <c:v>29.15</c:v>
                </c:pt>
                <c:pt idx="2583">
                  <c:v>29.73</c:v>
                </c:pt>
                <c:pt idx="2584">
                  <c:v>27.81</c:v>
                </c:pt>
                <c:pt idx="2585">
                  <c:v>27.74</c:v>
                </c:pt>
                <c:pt idx="2586">
                  <c:v>30.44</c:v>
                </c:pt>
                <c:pt idx="2587">
                  <c:v>28.05</c:v>
                </c:pt>
                <c:pt idx="2588">
                  <c:v>27.83</c:v>
                </c:pt>
                <c:pt idx="2589">
                  <c:v>32.950000000000003</c:v>
                </c:pt>
                <c:pt idx="2590">
                  <c:v>37.28</c:v>
                </c:pt>
                <c:pt idx="2591">
                  <c:v>43.21</c:v>
                </c:pt>
                <c:pt idx="2592">
                  <c:v>36.479999999999997</c:v>
                </c:pt>
                <c:pt idx="2593">
                  <c:v>30.94</c:v>
                </c:pt>
                <c:pt idx="2594">
                  <c:v>26.75</c:v>
                </c:pt>
                <c:pt idx="2595">
                  <c:v>26.78</c:v>
                </c:pt>
                <c:pt idx="2596">
                  <c:v>28.44</c:v>
                </c:pt>
                <c:pt idx="2597">
                  <c:v>28.53</c:v>
                </c:pt>
                <c:pt idx="2598">
                  <c:v>32.200000000000003</c:v>
                </c:pt>
                <c:pt idx="2599">
                  <c:v>32.78</c:v>
                </c:pt>
                <c:pt idx="2600">
                  <c:v>31.37</c:v>
                </c:pt>
                <c:pt idx="2601">
                  <c:v>27.51</c:v>
                </c:pt>
                <c:pt idx="2602">
                  <c:v>26.45</c:v>
                </c:pt>
                <c:pt idx="2603">
                  <c:v>27.9</c:v>
                </c:pt>
                <c:pt idx="2604">
                  <c:v>29.32</c:v>
                </c:pt>
                <c:pt idx="2605">
                  <c:v>27.36</c:v>
                </c:pt>
                <c:pt idx="2606">
                  <c:v>26.13</c:v>
                </c:pt>
                <c:pt idx="2607">
                  <c:v>25.83</c:v>
                </c:pt>
                <c:pt idx="2608">
                  <c:v>25.92</c:v>
                </c:pt>
                <c:pt idx="2609">
                  <c:v>25.62</c:v>
                </c:pt>
                <c:pt idx="2610">
                  <c:v>25.68</c:v>
                </c:pt>
                <c:pt idx="2611">
                  <c:v>26.04</c:v>
                </c:pt>
                <c:pt idx="2612">
                  <c:v>26.68</c:v>
                </c:pt>
                <c:pt idx="2613">
                  <c:v>26.33</c:v>
                </c:pt>
                <c:pt idx="2614">
                  <c:v>25.76</c:v>
                </c:pt>
                <c:pt idx="2615">
                  <c:v>25.3</c:v>
                </c:pt>
                <c:pt idx="2616">
                  <c:v>22.82</c:v>
                </c:pt>
                <c:pt idx="2617">
                  <c:v>25.32</c:v>
                </c:pt>
                <c:pt idx="2618">
                  <c:v>25.76</c:v>
                </c:pt>
                <c:pt idx="2619">
                  <c:v>26.62</c:v>
                </c:pt>
                <c:pt idx="2620">
                  <c:v>28.67</c:v>
                </c:pt>
                <c:pt idx="2621">
                  <c:v>26.37</c:v>
                </c:pt>
                <c:pt idx="2622">
                  <c:v>22.59</c:v>
                </c:pt>
                <c:pt idx="2623">
                  <c:v>21.32</c:v>
                </c:pt>
                <c:pt idx="2624">
                  <c:v>25.35</c:v>
                </c:pt>
                <c:pt idx="2625">
                  <c:v>24.56</c:v>
                </c:pt>
                <c:pt idx="2626">
                  <c:v>26.08</c:v>
                </c:pt>
                <c:pt idx="2627">
                  <c:v>27.36</c:v>
                </c:pt>
                <c:pt idx="2628">
                  <c:v>25.75</c:v>
                </c:pt>
                <c:pt idx="2629">
                  <c:v>24.33</c:v>
                </c:pt>
                <c:pt idx="2630">
                  <c:v>24.13</c:v>
                </c:pt>
                <c:pt idx="2631">
                  <c:v>24.65</c:v>
                </c:pt>
                <c:pt idx="2632">
                  <c:v>25.26</c:v>
                </c:pt>
                <c:pt idx="2633">
                  <c:v>26.66</c:v>
                </c:pt>
                <c:pt idx="2634">
                  <c:v>26.42</c:v>
                </c:pt>
                <c:pt idx="2635">
                  <c:v>26.44</c:v>
                </c:pt>
                <c:pt idx="2636">
                  <c:v>24.22</c:v>
                </c:pt>
                <c:pt idx="2637">
                  <c:v>24.33</c:v>
                </c:pt>
                <c:pt idx="2638">
                  <c:v>25.03</c:v>
                </c:pt>
                <c:pt idx="2639">
                  <c:v>28.26</c:v>
                </c:pt>
                <c:pt idx="2640">
                  <c:v>27.53</c:v>
                </c:pt>
                <c:pt idx="2641">
                  <c:v>25.92</c:v>
                </c:pt>
                <c:pt idx="2642">
                  <c:v>26.7</c:v>
                </c:pt>
                <c:pt idx="2643">
                  <c:v>24.41</c:v>
                </c:pt>
                <c:pt idx="2644">
                  <c:v>23.19</c:v>
                </c:pt>
                <c:pt idx="2645">
                  <c:v>24.52</c:v>
                </c:pt>
                <c:pt idx="2646">
                  <c:v>24.93</c:v>
                </c:pt>
                <c:pt idx="2647">
                  <c:v>25.06</c:v>
                </c:pt>
                <c:pt idx="2648">
                  <c:v>25.13</c:v>
                </c:pt>
                <c:pt idx="2649">
                  <c:v>24.73</c:v>
                </c:pt>
                <c:pt idx="2650">
                  <c:v>25.57</c:v>
                </c:pt>
                <c:pt idx="2651">
                  <c:v>25.23</c:v>
                </c:pt>
                <c:pt idx="2652">
                  <c:v>25.4</c:v>
                </c:pt>
                <c:pt idx="2653">
                  <c:v>26.07</c:v>
                </c:pt>
                <c:pt idx="2654">
                  <c:v>25.75</c:v>
                </c:pt>
                <c:pt idx="2655">
                  <c:v>26.7</c:v>
                </c:pt>
                <c:pt idx="2656">
                  <c:v>26.36</c:v>
                </c:pt>
                <c:pt idx="2657">
                  <c:v>24.66</c:v>
                </c:pt>
                <c:pt idx="2658">
                  <c:v>21.86</c:v>
                </c:pt>
                <c:pt idx="2659">
                  <c:v>24.02</c:v>
                </c:pt>
                <c:pt idx="2660">
                  <c:v>26.42</c:v>
                </c:pt>
                <c:pt idx="2661">
                  <c:v>25.76</c:v>
                </c:pt>
                <c:pt idx="2662">
                  <c:v>25.49</c:v>
                </c:pt>
                <c:pt idx="2663">
                  <c:v>25.98</c:v>
                </c:pt>
                <c:pt idx="2664">
                  <c:v>24.2</c:v>
                </c:pt>
                <c:pt idx="2665">
                  <c:v>23.62</c:v>
                </c:pt>
                <c:pt idx="2666">
                  <c:v>25.87</c:v>
                </c:pt>
                <c:pt idx="2667">
                  <c:v>24.99</c:v>
                </c:pt>
                <c:pt idx="2668">
                  <c:v>24.56</c:v>
                </c:pt>
                <c:pt idx="2669">
                  <c:v>22.28</c:v>
                </c:pt>
                <c:pt idx="2670">
                  <c:v>24.93</c:v>
                </c:pt>
                <c:pt idx="2671">
                  <c:v>23.15</c:v>
                </c:pt>
                <c:pt idx="2672">
                  <c:v>22.57</c:v>
                </c:pt>
                <c:pt idx="2673">
                  <c:v>29.66</c:v>
                </c:pt>
                <c:pt idx="2674">
                  <c:v>29.29</c:v>
                </c:pt>
                <c:pt idx="2675">
                  <c:v>26.5</c:v>
                </c:pt>
                <c:pt idx="2676">
                  <c:v>27.34</c:v>
                </c:pt>
                <c:pt idx="2677">
                  <c:v>24.75</c:v>
                </c:pt>
                <c:pt idx="2678">
                  <c:v>24.14</c:v>
                </c:pt>
                <c:pt idx="2679">
                  <c:v>23.91</c:v>
                </c:pt>
                <c:pt idx="2680">
                  <c:v>27.27</c:v>
                </c:pt>
                <c:pt idx="2681">
                  <c:v>25.76</c:v>
                </c:pt>
                <c:pt idx="2682">
                  <c:v>24.32</c:v>
                </c:pt>
                <c:pt idx="2683">
                  <c:v>23.41</c:v>
                </c:pt>
                <c:pt idx="2684">
                  <c:v>24.51</c:v>
                </c:pt>
                <c:pt idx="2685">
                  <c:v>20.12</c:v>
                </c:pt>
                <c:pt idx="2686">
                  <c:v>18.809999999999999</c:v>
                </c:pt>
                <c:pt idx="2687">
                  <c:v>23.13</c:v>
                </c:pt>
                <c:pt idx="2688">
                  <c:v>23.24</c:v>
                </c:pt>
                <c:pt idx="2689">
                  <c:v>20.59</c:v>
                </c:pt>
                <c:pt idx="2690">
                  <c:v>18.88</c:v>
                </c:pt>
                <c:pt idx="2691">
                  <c:v>21.97</c:v>
                </c:pt>
                <c:pt idx="2692">
                  <c:v>20</c:v>
                </c:pt>
                <c:pt idx="2693">
                  <c:v>14.14</c:v>
                </c:pt>
                <c:pt idx="2694">
                  <c:v>26.3</c:v>
                </c:pt>
                <c:pt idx="2695">
                  <c:v>25.09</c:v>
                </c:pt>
                <c:pt idx="2696">
                  <c:v>28.09</c:v>
                </c:pt>
                <c:pt idx="2697">
                  <c:v>28.98</c:v>
                </c:pt>
                <c:pt idx="2698">
                  <c:v>23.09</c:v>
                </c:pt>
                <c:pt idx="2699">
                  <c:v>18.23</c:v>
                </c:pt>
                <c:pt idx="2700">
                  <c:v>19.78</c:v>
                </c:pt>
                <c:pt idx="2701">
                  <c:v>22.27</c:v>
                </c:pt>
                <c:pt idx="2702">
                  <c:v>24.46</c:v>
                </c:pt>
                <c:pt idx="2703">
                  <c:v>22.68</c:v>
                </c:pt>
                <c:pt idx="2704">
                  <c:v>22.88</c:v>
                </c:pt>
                <c:pt idx="2705">
                  <c:v>21.19</c:v>
                </c:pt>
                <c:pt idx="2706">
                  <c:v>16.77</c:v>
                </c:pt>
                <c:pt idx="2707">
                  <c:v>13.51</c:v>
                </c:pt>
                <c:pt idx="2708">
                  <c:v>19.47</c:v>
                </c:pt>
                <c:pt idx="2709">
                  <c:v>16.47</c:v>
                </c:pt>
                <c:pt idx="2710">
                  <c:v>15.77</c:v>
                </c:pt>
                <c:pt idx="2711">
                  <c:v>18.75</c:v>
                </c:pt>
                <c:pt idx="2712">
                  <c:v>17.170000000000002</c:v>
                </c:pt>
                <c:pt idx="2713">
                  <c:v>10.09</c:v>
                </c:pt>
                <c:pt idx="2714">
                  <c:v>8.39</c:v>
                </c:pt>
                <c:pt idx="2715">
                  <c:v>17.670000000000002</c:v>
                </c:pt>
                <c:pt idx="2716">
                  <c:v>18.55</c:v>
                </c:pt>
                <c:pt idx="2717">
                  <c:v>17.22</c:v>
                </c:pt>
                <c:pt idx="2718">
                  <c:v>16.47</c:v>
                </c:pt>
                <c:pt idx="2719">
                  <c:v>15.08</c:v>
                </c:pt>
                <c:pt idx="2720">
                  <c:v>9.94</c:v>
                </c:pt>
                <c:pt idx="2721">
                  <c:v>8.01</c:v>
                </c:pt>
                <c:pt idx="2722">
                  <c:v>12.7</c:v>
                </c:pt>
                <c:pt idx="2723">
                  <c:v>14.45</c:v>
                </c:pt>
                <c:pt idx="2724">
                  <c:v>14.4</c:v>
                </c:pt>
                <c:pt idx="2725">
                  <c:v>11.1</c:v>
                </c:pt>
                <c:pt idx="2726">
                  <c:v>10.54</c:v>
                </c:pt>
                <c:pt idx="2727">
                  <c:v>9.31</c:v>
                </c:pt>
                <c:pt idx="2728">
                  <c:v>11.42</c:v>
                </c:pt>
                <c:pt idx="2729">
                  <c:v>17.27</c:v>
                </c:pt>
                <c:pt idx="2730">
                  <c:v>16.309999999999999</c:v>
                </c:pt>
                <c:pt idx="2731">
                  <c:v>11.83</c:v>
                </c:pt>
                <c:pt idx="2732">
                  <c:v>13.17</c:v>
                </c:pt>
                <c:pt idx="2733">
                  <c:v>17.260000000000002</c:v>
                </c:pt>
                <c:pt idx="2734">
                  <c:v>15.33</c:v>
                </c:pt>
                <c:pt idx="2735">
                  <c:v>15.12</c:v>
                </c:pt>
                <c:pt idx="2736">
                  <c:v>17.149999999999999</c:v>
                </c:pt>
                <c:pt idx="2737">
                  <c:v>16.57</c:v>
                </c:pt>
                <c:pt idx="2738">
                  <c:v>15.94</c:v>
                </c:pt>
                <c:pt idx="2739">
                  <c:v>11.74</c:v>
                </c:pt>
                <c:pt idx="2740">
                  <c:v>11.14</c:v>
                </c:pt>
                <c:pt idx="2741">
                  <c:v>9.91</c:v>
                </c:pt>
                <c:pt idx="2742">
                  <c:v>11.27</c:v>
                </c:pt>
                <c:pt idx="2743">
                  <c:v>11.03</c:v>
                </c:pt>
                <c:pt idx="2744">
                  <c:v>10.79</c:v>
                </c:pt>
                <c:pt idx="2745">
                  <c:v>8.83</c:v>
                </c:pt>
                <c:pt idx="2746">
                  <c:v>6.23</c:v>
                </c:pt>
                <c:pt idx="2747">
                  <c:v>6.3</c:v>
                </c:pt>
                <c:pt idx="2748">
                  <c:v>9.06</c:v>
                </c:pt>
                <c:pt idx="2749">
                  <c:v>8.43</c:v>
                </c:pt>
                <c:pt idx="2750">
                  <c:v>11.51</c:v>
                </c:pt>
                <c:pt idx="2751">
                  <c:v>12.12</c:v>
                </c:pt>
                <c:pt idx="2752">
                  <c:v>10.23</c:v>
                </c:pt>
                <c:pt idx="2753">
                  <c:v>12.33</c:v>
                </c:pt>
                <c:pt idx="2754">
                  <c:v>10.37</c:v>
                </c:pt>
                <c:pt idx="2755">
                  <c:v>6.95</c:v>
                </c:pt>
                <c:pt idx="2756">
                  <c:v>9.23</c:v>
                </c:pt>
                <c:pt idx="2757">
                  <c:v>10.58</c:v>
                </c:pt>
                <c:pt idx="2758">
                  <c:v>9.31</c:v>
                </c:pt>
                <c:pt idx="2759">
                  <c:v>10.29</c:v>
                </c:pt>
                <c:pt idx="2760">
                  <c:v>9.73</c:v>
                </c:pt>
                <c:pt idx="2761">
                  <c:v>10.28</c:v>
                </c:pt>
                <c:pt idx="2762">
                  <c:v>7.08</c:v>
                </c:pt>
                <c:pt idx="2763">
                  <c:v>3.88</c:v>
                </c:pt>
                <c:pt idx="2764">
                  <c:v>9.66</c:v>
                </c:pt>
                <c:pt idx="2765">
                  <c:v>9.8800000000000008</c:v>
                </c:pt>
                <c:pt idx="2766">
                  <c:v>7.98</c:v>
                </c:pt>
                <c:pt idx="2767">
                  <c:v>7.48</c:v>
                </c:pt>
                <c:pt idx="2768">
                  <c:v>6.43</c:v>
                </c:pt>
                <c:pt idx="2769">
                  <c:v>6.71</c:v>
                </c:pt>
                <c:pt idx="2770">
                  <c:v>7.52</c:v>
                </c:pt>
                <c:pt idx="2771">
                  <c:v>9.25</c:v>
                </c:pt>
                <c:pt idx="2772">
                  <c:v>8.57</c:v>
                </c:pt>
                <c:pt idx="2773">
                  <c:v>9</c:v>
                </c:pt>
                <c:pt idx="2774">
                  <c:v>8.65</c:v>
                </c:pt>
                <c:pt idx="2775">
                  <c:v>8.3000000000000007</c:v>
                </c:pt>
                <c:pt idx="2776">
                  <c:v>6.34</c:v>
                </c:pt>
                <c:pt idx="2777">
                  <c:v>7.84</c:v>
                </c:pt>
                <c:pt idx="2778">
                  <c:v>11.66</c:v>
                </c:pt>
                <c:pt idx="2779">
                  <c:v>10.46</c:v>
                </c:pt>
                <c:pt idx="2780">
                  <c:v>11.66</c:v>
                </c:pt>
                <c:pt idx="2781">
                  <c:v>12.65</c:v>
                </c:pt>
                <c:pt idx="2782">
                  <c:v>10.82</c:v>
                </c:pt>
                <c:pt idx="2783">
                  <c:v>10.96</c:v>
                </c:pt>
                <c:pt idx="2784">
                  <c:v>11.13</c:v>
                </c:pt>
                <c:pt idx="2785">
                  <c:v>11.88</c:v>
                </c:pt>
                <c:pt idx="2786">
                  <c:v>12.86</c:v>
                </c:pt>
                <c:pt idx="2787">
                  <c:v>17.73</c:v>
                </c:pt>
                <c:pt idx="2788">
                  <c:v>21.41</c:v>
                </c:pt>
                <c:pt idx="2789">
                  <c:v>19.93</c:v>
                </c:pt>
                <c:pt idx="2790">
                  <c:v>17.440000000000001</c:v>
                </c:pt>
                <c:pt idx="2791">
                  <c:v>16.079999999999998</c:v>
                </c:pt>
                <c:pt idx="2792">
                  <c:v>19.95</c:v>
                </c:pt>
                <c:pt idx="2793">
                  <c:v>18.18</c:v>
                </c:pt>
                <c:pt idx="2794">
                  <c:v>18.309999999999999</c:v>
                </c:pt>
                <c:pt idx="2795">
                  <c:v>16.03</c:v>
                </c:pt>
                <c:pt idx="2796">
                  <c:v>16.13</c:v>
                </c:pt>
                <c:pt idx="2797">
                  <c:v>13.92</c:v>
                </c:pt>
                <c:pt idx="2798">
                  <c:v>15.26</c:v>
                </c:pt>
                <c:pt idx="2799">
                  <c:v>18.05</c:v>
                </c:pt>
                <c:pt idx="2800">
                  <c:v>16.46</c:v>
                </c:pt>
                <c:pt idx="2801">
                  <c:v>16.100000000000001</c:v>
                </c:pt>
                <c:pt idx="2802">
                  <c:v>17.75</c:v>
                </c:pt>
                <c:pt idx="2803">
                  <c:v>19.34</c:v>
                </c:pt>
                <c:pt idx="2804">
                  <c:v>15.18</c:v>
                </c:pt>
                <c:pt idx="2805">
                  <c:v>11.05</c:v>
                </c:pt>
                <c:pt idx="2806">
                  <c:v>20.62</c:v>
                </c:pt>
                <c:pt idx="2807">
                  <c:v>21.49</c:v>
                </c:pt>
                <c:pt idx="2808">
                  <c:v>21.57</c:v>
                </c:pt>
                <c:pt idx="2809">
                  <c:v>21.83</c:v>
                </c:pt>
                <c:pt idx="2810">
                  <c:v>20.13</c:v>
                </c:pt>
                <c:pt idx="2811">
                  <c:v>16.37</c:v>
                </c:pt>
                <c:pt idx="2812">
                  <c:v>17.05</c:v>
                </c:pt>
                <c:pt idx="2813">
                  <c:v>19.25</c:v>
                </c:pt>
                <c:pt idx="2814">
                  <c:v>18.600000000000001</c:v>
                </c:pt>
                <c:pt idx="2815">
                  <c:v>20.329999999999998</c:v>
                </c:pt>
                <c:pt idx="2816">
                  <c:v>18.75</c:v>
                </c:pt>
                <c:pt idx="2817">
                  <c:v>14.67</c:v>
                </c:pt>
                <c:pt idx="2818">
                  <c:v>13.21</c:v>
                </c:pt>
                <c:pt idx="2819">
                  <c:v>14.9</c:v>
                </c:pt>
                <c:pt idx="2820">
                  <c:v>20.88</c:v>
                </c:pt>
                <c:pt idx="2821">
                  <c:v>18.53</c:v>
                </c:pt>
                <c:pt idx="2822">
                  <c:v>18.920000000000002</c:v>
                </c:pt>
                <c:pt idx="2823">
                  <c:v>16.71</c:v>
                </c:pt>
                <c:pt idx="2824">
                  <c:v>15.26</c:v>
                </c:pt>
                <c:pt idx="2825">
                  <c:v>14.58</c:v>
                </c:pt>
                <c:pt idx="2826">
                  <c:v>14.69</c:v>
                </c:pt>
                <c:pt idx="2827">
                  <c:v>17.72</c:v>
                </c:pt>
                <c:pt idx="2828">
                  <c:v>16.489999999999998</c:v>
                </c:pt>
                <c:pt idx="2829">
                  <c:v>15.16</c:v>
                </c:pt>
                <c:pt idx="2830">
                  <c:v>13.54</c:v>
                </c:pt>
                <c:pt idx="2831">
                  <c:v>11.75</c:v>
                </c:pt>
                <c:pt idx="2832">
                  <c:v>12.72</c:v>
                </c:pt>
                <c:pt idx="2833">
                  <c:v>13.61</c:v>
                </c:pt>
                <c:pt idx="2834">
                  <c:v>16.18</c:v>
                </c:pt>
                <c:pt idx="2835">
                  <c:v>13.84</c:v>
                </c:pt>
                <c:pt idx="2836">
                  <c:v>15.61</c:v>
                </c:pt>
                <c:pt idx="2837">
                  <c:v>19.739999999999998</c:v>
                </c:pt>
                <c:pt idx="2838">
                  <c:v>21.78</c:v>
                </c:pt>
                <c:pt idx="2839">
                  <c:v>20.79</c:v>
                </c:pt>
                <c:pt idx="2840">
                  <c:v>20.21</c:v>
                </c:pt>
                <c:pt idx="2841">
                  <c:v>23.08</c:v>
                </c:pt>
                <c:pt idx="2842">
                  <c:v>22.89</c:v>
                </c:pt>
                <c:pt idx="2843">
                  <c:v>23.27</c:v>
                </c:pt>
                <c:pt idx="2844">
                  <c:v>23.59</c:v>
                </c:pt>
                <c:pt idx="2845">
                  <c:v>23.92</c:v>
                </c:pt>
                <c:pt idx="2846">
                  <c:v>23.34</c:v>
                </c:pt>
                <c:pt idx="2847">
                  <c:v>23.77</c:v>
                </c:pt>
                <c:pt idx="2848">
                  <c:v>30.57</c:v>
                </c:pt>
                <c:pt idx="2849">
                  <c:v>30.47</c:v>
                </c:pt>
                <c:pt idx="2850">
                  <c:v>25.11</c:v>
                </c:pt>
                <c:pt idx="2851">
                  <c:v>23.85</c:v>
                </c:pt>
                <c:pt idx="2852">
                  <c:v>23.89</c:v>
                </c:pt>
                <c:pt idx="2853">
                  <c:v>23.84</c:v>
                </c:pt>
                <c:pt idx="2854">
                  <c:v>23.09</c:v>
                </c:pt>
                <c:pt idx="2855">
                  <c:v>26.66</c:v>
                </c:pt>
                <c:pt idx="2856">
                  <c:v>26.86</c:v>
                </c:pt>
                <c:pt idx="2857">
                  <c:v>26.66</c:v>
                </c:pt>
                <c:pt idx="2858">
                  <c:v>29.37</c:v>
                </c:pt>
                <c:pt idx="2859">
                  <c:v>27.29</c:v>
                </c:pt>
                <c:pt idx="2860">
                  <c:v>24.84</c:v>
                </c:pt>
                <c:pt idx="2861">
                  <c:v>24.52</c:v>
                </c:pt>
                <c:pt idx="2862">
                  <c:v>25.41</c:v>
                </c:pt>
                <c:pt idx="2863">
                  <c:v>25.91</c:v>
                </c:pt>
                <c:pt idx="2864">
                  <c:v>25.83</c:v>
                </c:pt>
                <c:pt idx="2865">
                  <c:v>26.06</c:v>
                </c:pt>
                <c:pt idx="2866">
                  <c:v>25.74</c:v>
                </c:pt>
                <c:pt idx="2867">
                  <c:v>23.15</c:v>
                </c:pt>
                <c:pt idx="2868">
                  <c:v>22.44</c:v>
                </c:pt>
                <c:pt idx="2869">
                  <c:v>22.91</c:v>
                </c:pt>
                <c:pt idx="2870">
                  <c:v>22.71</c:v>
                </c:pt>
                <c:pt idx="2871">
                  <c:v>24.23</c:v>
                </c:pt>
                <c:pt idx="2872">
                  <c:v>24.28</c:v>
                </c:pt>
                <c:pt idx="2873">
                  <c:v>23.28</c:v>
                </c:pt>
                <c:pt idx="2874">
                  <c:v>20.67</c:v>
                </c:pt>
                <c:pt idx="2875">
                  <c:v>22.65</c:v>
                </c:pt>
                <c:pt idx="2876">
                  <c:v>23.92</c:v>
                </c:pt>
                <c:pt idx="2877">
                  <c:v>24.76</c:v>
                </c:pt>
                <c:pt idx="2878">
                  <c:v>24.34</c:v>
                </c:pt>
                <c:pt idx="2879">
                  <c:v>24.83</c:v>
                </c:pt>
                <c:pt idx="2880">
                  <c:v>27.5</c:v>
                </c:pt>
                <c:pt idx="2881">
                  <c:v>24.91</c:v>
                </c:pt>
                <c:pt idx="2882">
                  <c:v>24.36</c:v>
                </c:pt>
                <c:pt idx="2883">
                  <c:v>41.14</c:v>
                </c:pt>
                <c:pt idx="2884">
                  <c:v>25.72</c:v>
                </c:pt>
                <c:pt idx="2885">
                  <c:v>31</c:v>
                </c:pt>
                <c:pt idx="2886">
                  <c:v>28.24</c:v>
                </c:pt>
                <c:pt idx="2887">
                  <c:v>22.72</c:v>
                </c:pt>
                <c:pt idx="2888">
                  <c:v>20.68</c:v>
                </c:pt>
                <c:pt idx="2889">
                  <c:v>19.59</c:v>
                </c:pt>
                <c:pt idx="2890">
                  <c:v>22.73</c:v>
                </c:pt>
                <c:pt idx="2891">
                  <c:v>23.83</c:v>
                </c:pt>
                <c:pt idx="2892">
                  <c:v>25.32</c:v>
                </c:pt>
                <c:pt idx="2893">
                  <c:v>24.6</c:v>
                </c:pt>
                <c:pt idx="2894">
                  <c:v>20.71</c:v>
                </c:pt>
                <c:pt idx="2895">
                  <c:v>16.059999999999999</c:v>
                </c:pt>
                <c:pt idx="2896">
                  <c:v>12.78</c:v>
                </c:pt>
                <c:pt idx="2897">
                  <c:v>21.14</c:v>
                </c:pt>
                <c:pt idx="2898">
                  <c:v>21.86</c:v>
                </c:pt>
                <c:pt idx="2899">
                  <c:v>19.68</c:v>
                </c:pt>
                <c:pt idx="2900">
                  <c:v>18.62</c:v>
                </c:pt>
                <c:pt idx="2901">
                  <c:v>20.079999999999998</c:v>
                </c:pt>
                <c:pt idx="2902">
                  <c:v>19.79</c:v>
                </c:pt>
                <c:pt idx="2903">
                  <c:v>21.96</c:v>
                </c:pt>
                <c:pt idx="2904">
                  <c:v>34</c:v>
                </c:pt>
                <c:pt idx="2905">
                  <c:v>27.81</c:v>
                </c:pt>
                <c:pt idx="2906">
                  <c:v>30.16</c:v>
                </c:pt>
                <c:pt idx="2907">
                  <c:v>26.69</c:v>
                </c:pt>
                <c:pt idx="2908">
                  <c:v>18.510000000000002</c:v>
                </c:pt>
                <c:pt idx="2909">
                  <c:v>15.53</c:v>
                </c:pt>
                <c:pt idx="2910">
                  <c:v>12.82</c:v>
                </c:pt>
                <c:pt idx="2911">
                  <c:v>13.46</c:v>
                </c:pt>
                <c:pt idx="2912">
                  <c:v>12.94</c:v>
                </c:pt>
                <c:pt idx="2913">
                  <c:v>11.89</c:v>
                </c:pt>
                <c:pt idx="2914">
                  <c:v>10.51</c:v>
                </c:pt>
                <c:pt idx="2915">
                  <c:v>8.74</c:v>
                </c:pt>
                <c:pt idx="2916">
                  <c:v>11.97</c:v>
                </c:pt>
                <c:pt idx="2917">
                  <c:v>13.83</c:v>
                </c:pt>
                <c:pt idx="2918">
                  <c:v>21.19</c:v>
                </c:pt>
                <c:pt idx="2919">
                  <c:v>16.440000000000001</c:v>
                </c:pt>
                <c:pt idx="2920">
                  <c:v>16.010000000000002</c:v>
                </c:pt>
                <c:pt idx="2921">
                  <c:v>15.47</c:v>
                </c:pt>
                <c:pt idx="2922">
                  <c:v>16.61</c:v>
                </c:pt>
                <c:pt idx="2923">
                  <c:v>15.7</c:v>
                </c:pt>
                <c:pt idx="2924">
                  <c:v>16.8</c:v>
                </c:pt>
                <c:pt idx="2925">
                  <c:v>19.21</c:v>
                </c:pt>
                <c:pt idx="2926">
                  <c:v>22.88</c:v>
                </c:pt>
                <c:pt idx="2927">
                  <c:v>30.09</c:v>
                </c:pt>
                <c:pt idx="2928">
                  <c:v>38.94</c:v>
                </c:pt>
                <c:pt idx="2929">
                  <c:v>32.76</c:v>
                </c:pt>
                <c:pt idx="2930">
                  <c:v>26.64</c:v>
                </c:pt>
                <c:pt idx="2931">
                  <c:v>22.1</c:v>
                </c:pt>
                <c:pt idx="2932">
                  <c:v>33.380000000000003</c:v>
                </c:pt>
                <c:pt idx="2933">
                  <c:v>31.33</c:v>
                </c:pt>
                <c:pt idx="2934">
                  <c:v>33.590000000000003</c:v>
                </c:pt>
                <c:pt idx="2935">
                  <c:v>43.04</c:v>
                </c:pt>
                <c:pt idx="2936">
                  <c:v>41.92</c:v>
                </c:pt>
                <c:pt idx="2937">
                  <c:v>26.94</c:v>
                </c:pt>
                <c:pt idx="2938">
                  <c:v>25.45</c:v>
                </c:pt>
                <c:pt idx="2939">
                  <c:v>49.26</c:v>
                </c:pt>
                <c:pt idx="2940">
                  <c:v>55.36</c:v>
                </c:pt>
                <c:pt idx="2941">
                  <c:v>50.38</c:v>
                </c:pt>
                <c:pt idx="2942">
                  <c:v>80.989999999999995</c:v>
                </c:pt>
                <c:pt idx="2943">
                  <c:v>37.5</c:v>
                </c:pt>
                <c:pt idx="2944">
                  <c:v>24.58</c:v>
                </c:pt>
                <c:pt idx="2945">
                  <c:v>22.56</c:v>
                </c:pt>
                <c:pt idx="2946">
                  <c:v>26.42</c:v>
                </c:pt>
                <c:pt idx="2947">
                  <c:v>18.5</c:v>
                </c:pt>
                <c:pt idx="2948">
                  <c:v>17.079999999999998</c:v>
                </c:pt>
                <c:pt idx="2949">
                  <c:v>17.16</c:v>
                </c:pt>
                <c:pt idx="2950">
                  <c:v>16.72</c:v>
                </c:pt>
                <c:pt idx="2951">
                  <c:v>14.85</c:v>
                </c:pt>
                <c:pt idx="2952">
                  <c:v>16.559999999999999</c:v>
                </c:pt>
                <c:pt idx="2953">
                  <c:v>19.23</c:v>
                </c:pt>
                <c:pt idx="2954">
                  <c:v>17.22</c:v>
                </c:pt>
                <c:pt idx="2955">
                  <c:v>18.3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ily!$A$3</c:f>
              <c:strCache>
                <c:ptCount val="1"/>
                <c:pt idx="0">
                  <c:v>Phelix</c:v>
                </c:pt>
              </c:strCache>
            </c:strRef>
          </c:tx>
          <c:spPr>
            <a:ln w="3175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trendline>
            <c:spPr>
              <a:ln w="25400" cap="rnd" cmpd="sng" algn="ctr">
                <a:solidFill>
                  <a:srgbClr val="FF0000"/>
                </a:solidFill>
                <a:prstDash val="solid"/>
                <a:round/>
              </a:ln>
              <a:effectLst/>
            </c:spPr>
            <c:trendlineType val="movingAvg"/>
            <c:period val="30"/>
            <c:dispRSqr val="0"/>
            <c:dispEq val="0"/>
          </c:trendline>
          <c:cat>
            <c:numRef>
              <c:f>Daily!$B$1:$DIS$1</c:f>
              <c:numCache>
                <c:formatCode>dd/mm/yy;@</c:formatCode>
                <c:ptCount val="2956"/>
                <c:pt idx="0">
                  <c:v>39448</c:v>
                </c:pt>
                <c:pt idx="1">
                  <c:v>39449</c:v>
                </c:pt>
                <c:pt idx="2">
                  <c:v>39450</c:v>
                </c:pt>
                <c:pt idx="3">
                  <c:v>39451</c:v>
                </c:pt>
                <c:pt idx="4">
                  <c:v>39452</c:v>
                </c:pt>
                <c:pt idx="5">
                  <c:v>39453</c:v>
                </c:pt>
                <c:pt idx="6">
                  <c:v>39454</c:v>
                </c:pt>
                <c:pt idx="7">
                  <c:v>39455</c:v>
                </c:pt>
                <c:pt idx="8">
                  <c:v>39456</c:v>
                </c:pt>
                <c:pt idx="9">
                  <c:v>39457</c:v>
                </c:pt>
                <c:pt idx="10">
                  <c:v>39458</c:v>
                </c:pt>
                <c:pt idx="11">
                  <c:v>39459</c:v>
                </c:pt>
                <c:pt idx="12">
                  <c:v>39460</c:v>
                </c:pt>
                <c:pt idx="13">
                  <c:v>39461</c:v>
                </c:pt>
                <c:pt idx="14">
                  <c:v>39462</c:v>
                </c:pt>
                <c:pt idx="15">
                  <c:v>39463</c:v>
                </c:pt>
                <c:pt idx="16">
                  <c:v>39464</c:v>
                </c:pt>
                <c:pt idx="17">
                  <c:v>39465</c:v>
                </c:pt>
                <c:pt idx="18">
                  <c:v>39466</c:v>
                </c:pt>
                <c:pt idx="19">
                  <c:v>39467</c:v>
                </c:pt>
                <c:pt idx="20">
                  <c:v>39468</c:v>
                </c:pt>
                <c:pt idx="21">
                  <c:v>39469</c:v>
                </c:pt>
                <c:pt idx="22">
                  <c:v>39470</c:v>
                </c:pt>
                <c:pt idx="23">
                  <c:v>39471</c:v>
                </c:pt>
                <c:pt idx="24">
                  <c:v>39472</c:v>
                </c:pt>
                <c:pt idx="25">
                  <c:v>39473</c:v>
                </c:pt>
                <c:pt idx="26">
                  <c:v>39474</c:v>
                </c:pt>
                <c:pt idx="27">
                  <c:v>39475</c:v>
                </c:pt>
                <c:pt idx="28">
                  <c:v>39476</c:v>
                </c:pt>
                <c:pt idx="29">
                  <c:v>39477</c:v>
                </c:pt>
                <c:pt idx="30">
                  <c:v>39478</c:v>
                </c:pt>
                <c:pt idx="31">
                  <c:v>39479</c:v>
                </c:pt>
                <c:pt idx="32">
                  <c:v>39480</c:v>
                </c:pt>
                <c:pt idx="33">
                  <c:v>39481</c:v>
                </c:pt>
                <c:pt idx="34">
                  <c:v>39482</c:v>
                </c:pt>
                <c:pt idx="35">
                  <c:v>39483</c:v>
                </c:pt>
                <c:pt idx="36">
                  <c:v>39484</c:v>
                </c:pt>
                <c:pt idx="37">
                  <c:v>39485</c:v>
                </c:pt>
                <c:pt idx="38">
                  <c:v>39486</c:v>
                </c:pt>
                <c:pt idx="39">
                  <c:v>39487</c:v>
                </c:pt>
                <c:pt idx="40">
                  <c:v>39488</c:v>
                </c:pt>
                <c:pt idx="41">
                  <c:v>39489</c:v>
                </c:pt>
                <c:pt idx="42">
                  <c:v>39490</c:v>
                </c:pt>
                <c:pt idx="43">
                  <c:v>39491</c:v>
                </c:pt>
                <c:pt idx="44">
                  <c:v>39492</c:v>
                </c:pt>
                <c:pt idx="45">
                  <c:v>39493</c:v>
                </c:pt>
                <c:pt idx="46">
                  <c:v>39494</c:v>
                </c:pt>
                <c:pt idx="47">
                  <c:v>39495</c:v>
                </c:pt>
                <c:pt idx="48">
                  <c:v>39496</c:v>
                </c:pt>
                <c:pt idx="49">
                  <c:v>39497</c:v>
                </c:pt>
                <c:pt idx="50">
                  <c:v>39498</c:v>
                </c:pt>
                <c:pt idx="51">
                  <c:v>39499</c:v>
                </c:pt>
                <c:pt idx="52">
                  <c:v>39500</c:v>
                </c:pt>
                <c:pt idx="53">
                  <c:v>39501</c:v>
                </c:pt>
                <c:pt idx="54">
                  <c:v>39502</c:v>
                </c:pt>
                <c:pt idx="55">
                  <c:v>39503</c:v>
                </c:pt>
                <c:pt idx="56">
                  <c:v>39504</c:v>
                </c:pt>
                <c:pt idx="57">
                  <c:v>39505</c:v>
                </c:pt>
                <c:pt idx="58">
                  <c:v>39506</c:v>
                </c:pt>
                <c:pt idx="59">
                  <c:v>39507</c:v>
                </c:pt>
                <c:pt idx="60">
                  <c:v>39508</c:v>
                </c:pt>
                <c:pt idx="61">
                  <c:v>39509</c:v>
                </c:pt>
                <c:pt idx="62">
                  <c:v>39510</c:v>
                </c:pt>
                <c:pt idx="63">
                  <c:v>39511</c:v>
                </c:pt>
                <c:pt idx="64">
                  <c:v>39512</c:v>
                </c:pt>
                <c:pt idx="65">
                  <c:v>39513</c:v>
                </c:pt>
                <c:pt idx="66">
                  <c:v>39514</c:v>
                </c:pt>
                <c:pt idx="67">
                  <c:v>39515</c:v>
                </c:pt>
                <c:pt idx="68">
                  <c:v>39516</c:v>
                </c:pt>
                <c:pt idx="69">
                  <c:v>39517</c:v>
                </c:pt>
                <c:pt idx="70">
                  <c:v>39518</c:v>
                </c:pt>
                <c:pt idx="71">
                  <c:v>39519</c:v>
                </c:pt>
                <c:pt idx="72">
                  <c:v>39520</c:v>
                </c:pt>
                <c:pt idx="73">
                  <c:v>39521</c:v>
                </c:pt>
                <c:pt idx="74">
                  <c:v>39522</c:v>
                </c:pt>
                <c:pt idx="75">
                  <c:v>39523</c:v>
                </c:pt>
                <c:pt idx="76">
                  <c:v>39524</c:v>
                </c:pt>
                <c:pt idx="77">
                  <c:v>39525</c:v>
                </c:pt>
                <c:pt idx="78">
                  <c:v>39526</c:v>
                </c:pt>
                <c:pt idx="79">
                  <c:v>39527</c:v>
                </c:pt>
                <c:pt idx="80">
                  <c:v>39528</c:v>
                </c:pt>
                <c:pt idx="81">
                  <c:v>39529</c:v>
                </c:pt>
                <c:pt idx="82">
                  <c:v>39530</c:v>
                </c:pt>
                <c:pt idx="83">
                  <c:v>39531</c:v>
                </c:pt>
                <c:pt idx="84">
                  <c:v>39532</c:v>
                </c:pt>
                <c:pt idx="85">
                  <c:v>39533</c:v>
                </c:pt>
                <c:pt idx="86">
                  <c:v>39534</c:v>
                </c:pt>
                <c:pt idx="87">
                  <c:v>39535</c:v>
                </c:pt>
                <c:pt idx="88">
                  <c:v>39536</c:v>
                </c:pt>
                <c:pt idx="89">
                  <c:v>39537</c:v>
                </c:pt>
                <c:pt idx="90">
                  <c:v>39538</c:v>
                </c:pt>
                <c:pt idx="91">
                  <c:v>39539</c:v>
                </c:pt>
                <c:pt idx="92">
                  <c:v>39540</c:v>
                </c:pt>
                <c:pt idx="93">
                  <c:v>39541</c:v>
                </c:pt>
                <c:pt idx="94">
                  <c:v>39542</c:v>
                </c:pt>
                <c:pt idx="95">
                  <c:v>39543</c:v>
                </c:pt>
                <c:pt idx="96">
                  <c:v>39544</c:v>
                </c:pt>
                <c:pt idx="97">
                  <c:v>39545</c:v>
                </c:pt>
                <c:pt idx="98">
                  <c:v>39546</c:v>
                </c:pt>
                <c:pt idx="99">
                  <c:v>39547</c:v>
                </c:pt>
                <c:pt idx="100">
                  <c:v>39548</c:v>
                </c:pt>
                <c:pt idx="101">
                  <c:v>39549</c:v>
                </c:pt>
                <c:pt idx="102">
                  <c:v>39550</c:v>
                </c:pt>
                <c:pt idx="103">
                  <c:v>39551</c:v>
                </c:pt>
                <c:pt idx="104">
                  <c:v>39552</c:v>
                </c:pt>
                <c:pt idx="105">
                  <c:v>39553</c:v>
                </c:pt>
                <c:pt idx="106">
                  <c:v>39554</c:v>
                </c:pt>
                <c:pt idx="107">
                  <c:v>39555</c:v>
                </c:pt>
                <c:pt idx="108">
                  <c:v>39556</c:v>
                </c:pt>
                <c:pt idx="109">
                  <c:v>39557</c:v>
                </c:pt>
                <c:pt idx="110">
                  <c:v>39558</c:v>
                </c:pt>
                <c:pt idx="111">
                  <c:v>39559</c:v>
                </c:pt>
                <c:pt idx="112">
                  <c:v>39560</c:v>
                </c:pt>
                <c:pt idx="113">
                  <c:v>39561</c:v>
                </c:pt>
                <c:pt idx="114">
                  <c:v>39562</c:v>
                </c:pt>
                <c:pt idx="115">
                  <c:v>39563</c:v>
                </c:pt>
                <c:pt idx="116">
                  <c:v>39564</c:v>
                </c:pt>
                <c:pt idx="117">
                  <c:v>39565</c:v>
                </c:pt>
                <c:pt idx="118">
                  <c:v>39566</c:v>
                </c:pt>
                <c:pt idx="119">
                  <c:v>39567</c:v>
                </c:pt>
                <c:pt idx="120">
                  <c:v>39568</c:v>
                </c:pt>
                <c:pt idx="121">
                  <c:v>39569</c:v>
                </c:pt>
                <c:pt idx="122">
                  <c:v>39570</c:v>
                </c:pt>
                <c:pt idx="123">
                  <c:v>39571</c:v>
                </c:pt>
                <c:pt idx="124">
                  <c:v>39572</c:v>
                </c:pt>
                <c:pt idx="125">
                  <c:v>39573</c:v>
                </c:pt>
                <c:pt idx="126">
                  <c:v>39574</c:v>
                </c:pt>
                <c:pt idx="127">
                  <c:v>39575</c:v>
                </c:pt>
                <c:pt idx="128">
                  <c:v>39576</c:v>
                </c:pt>
                <c:pt idx="129">
                  <c:v>39577</c:v>
                </c:pt>
                <c:pt idx="130">
                  <c:v>39578</c:v>
                </c:pt>
                <c:pt idx="131">
                  <c:v>39579</c:v>
                </c:pt>
                <c:pt idx="132">
                  <c:v>39580</c:v>
                </c:pt>
                <c:pt idx="133">
                  <c:v>39581</c:v>
                </c:pt>
                <c:pt idx="134">
                  <c:v>39582</c:v>
                </c:pt>
                <c:pt idx="135">
                  <c:v>39583</c:v>
                </c:pt>
                <c:pt idx="136">
                  <c:v>39584</c:v>
                </c:pt>
                <c:pt idx="137">
                  <c:v>39585</c:v>
                </c:pt>
                <c:pt idx="138">
                  <c:v>39586</c:v>
                </c:pt>
                <c:pt idx="139">
                  <c:v>39587</c:v>
                </c:pt>
                <c:pt idx="140">
                  <c:v>39588</c:v>
                </c:pt>
                <c:pt idx="141">
                  <c:v>39589</c:v>
                </c:pt>
                <c:pt idx="142">
                  <c:v>39590</c:v>
                </c:pt>
                <c:pt idx="143">
                  <c:v>39591</c:v>
                </c:pt>
                <c:pt idx="144">
                  <c:v>39592</c:v>
                </c:pt>
                <c:pt idx="145">
                  <c:v>39593</c:v>
                </c:pt>
                <c:pt idx="146">
                  <c:v>39594</c:v>
                </c:pt>
                <c:pt idx="147">
                  <c:v>39595</c:v>
                </c:pt>
                <c:pt idx="148">
                  <c:v>39596</c:v>
                </c:pt>
                <c:pt idx="149">
                  <c:v>39597</c:v>
                </c:pt>
                <c:pt idx="150">
                  <c:v>39598</c:v>
                </c:pt>
                <c:pt idx="151">
                  <c:v>39599</c:v>
                </c:pt>
                <c:pt idx="152">
                  <c:v>39600</c:v>
                </c:pt>
                <c:pt idx="153">
                  <c:v>39601</c:v>
                </c:pt>
                <c:pt idx="154">
                  <c:v>39602</c:v>
                </c:pt>
                <c:pt idx="155">
                  <c:v>39603</c:v>
                </c:pt>
                <c:pt idx="156">
                  <c:v>39604</c:v>
                </c:pt>
                <c:pt idx="157">
                  <c:v>39605</c:v>
                </c:pt>
                <c:pt idx="158">
                  <c:v>39606</c:v>
                </c:pt>
                <c:pt idx="159">
                  <c:v>39607</c:v>
                </c:pt>
                <c:pt idx="160">
                  <c:v>39608</c:v>
                </c:pt>
                <c:pt idx="161">
                  <c:v>39609</c:v>
                </c:pt>
                <c:pt idx="162">
                  <c:v>39610</c:v>
                </c:pt>
                <c:pt idx="163">
                  <c:v>39611</c:v>
                </c:pt>
                <c:pt idx="164">
                  <c:v>39612</c:v>
                </c:pt>
                <c:pt idx="165">
                  <c:v>39613</c:v>
                </c:pt>
                <c:pt idx="166">
                  <c:v>39614</c:v>
                </c:pt>
                <c:pt idx="167">
                  <c:v>39615</c:v>
                </c:pt>
                <c:pt idx="168">
                  <c:v>39616</c:v>
                </c:pt>
                <c:pt idx="169">
                  <c:v>39617</c:v>
                </c:pt>
                <c:pt idx="170">
                  <c:v>39618</c:v>
                </c:pt>
                <c:pt idx="171">
                  <c:v>39619</c:v>
                </c:pt>
                <c:pt idx="172">
                  <c:v>39620</c:v>
                </c:pt>
                <c:pt idx="173">
                  <c:v>39621</c:v>
                </c:pt>
                <c:pt idx="174">
                  <c:v>39622</c:v>
                </c:pt>
                <c:pt idx="175">
                  <c:v>39623</c:v>
                </c:pt>
                <c:pt idx="176">
                  <c:v>39624</c:v>
                </c:pt>
                <c:pt idx="177">
                  <c:v>39625</c:v>
                </c:pt>
                <c:pt idx="178">
                  <c:v>39626</c:v>
                </c:pt>
                <c:pt idx="179">
                  <c:v>39627</c:v>
                </c:pt>
                <c:pt idx="180">
                  <c:v>39628</c:v>
                </c:pt>
                <c:pt idx="181">
                  <c:v>39629</c:v>
                </c:pt>
                <c:pt idx="182">
                  <c:v>39630</c:v>
                </c:pt>
                <c:pt idx="183">
                  <c:v>39631</c:v>
                </c:pt>
                <c:pt idx="184">
                  <c:v>39632</c:v>
                </c:pt>
                <c:pt idx="185">
                  <c:v>39633</c:v>
                </c:pt>
                <c:pt idx="186">
                  <c:v>39634</c:v>
                </c:pt>
                <c:pt idx="187">
                  <c:v>39635</c:v>
                </c:pt>
                <c:pt idx="188">
                  <c:v>39636</c:v>
                </c:pt>
                <c:pt idx="189">
                  <c:v>39637</c:v>
                </c:pt>
                <c:pt idx="190">
                  <c:v>39638</c:v>
                </c:pt>
                <c:pt idx="191">
                  <c:v>39639</c:v>
                </c:pt>
                <c:pt idx="192">
                  <c:v>39640</c:v>
                </c:pt>
                <c:pt idx="193">
                  <c:v>39641</c:v>
                </c:pt>
                <c:pt idx="194">
                  <c:v>39642</c:v>
                </c:pt>
                <c:pt idx="195">
                  <c:v>39643</c:v>
                </c:pt>
                <c:pt idx="196">
                  <c:v>39644</c:v>
                </c:pt>
                <c:pt idx="197">
                  <c:v>39645</c:v>
                </c:pt>
                <c:pt idx="198">
                  <c:v>39646</c:v>
                </c:pt>
                <c:pt idx="199">
                  <c:v>39647</c:v>
                </c:pt>
                <c:pt idx="200">
                  <c:v>39648</c:v>
                </c:pt>
                <c:pt idx="201">
                  <c:v>39649</c:v>
                </c:pt>
                <c:pt idx="202">
                  <c:v>39650</c:v>
                </c:pt>
                <c:pt idx="203">
                  <c:v>39651</c:v>
                </c:pt>
                <c:pt idx="204">
                  <c:v>39652</c:v>
                </c:pt>
                <c:pt idx="205">
                  <c:v>39653</c:v>
                </c:pt>
                <c:pt idx="206">
                  <c:v>39654</c:v>
                </c:pt>
                <c:pt idx="207">
                  <c:v>39655</c:v>
                </c:pt>
                <c:pt idx="208">
                  <c:v>39656</c:v>
                </c:pt>
                <c:pt idx="209">
                  <c:v>39657</c:v>
                </c:pt>
                <c:pt idx="210">
                  <c:v>39658</c:v>
                </c:pt>
                <c:pt idx="211">
                  <c:v>39659</c:v>
                </c:pt>
                <c:pt idx="212">
                  <c:v>39660</c:v>
                </c:pt>
                <c:pt idx="213">
                  <c:v>39661</c:v>
                </c:pt>
                <c:pt idx="214">
                  <c:v>39662</c:v>
                </c:pt>
                <c:pt idx="215">
                  <c:v>39663</c:v>
                </c:pt>
                <c:pt idx="216">
                  <c:v>39664</c:v>
                </c:pt>
                <c:pt idx="217">
                  <c:v>39665</c:v>
                </c:pt>
                <c:pt idx="218">
                  <c:v>39666</c:v>
                </c:pt>
                <c:pt idx="219">
                  <c:v>39667</c:v>
                </c:pt>
                <c:pt idx="220">
                  <c:v>39668</c:v>
                </c:pt>
                <c:pt idx="221">
                  <c:v>39669</c:v>
                </c:pt>
                <c:pt idx="222">
                  <c:v>39670</c:v>
                </c:pt>
                <c:pt idx="223">
                  <c:v>39671</c:v>
                </c:pt>
                <c:pt idx="224">
                  <c:v>39672</c:v>
                </c:pt>
                <c:pt idx="225">
                  <c:v>39673</c:v>
                </c:pt>
                <c:pt idx="226">
                  <c:v>39674</c:v>
                </c:pt>
                <c:pt idx="227">
                  <c:v>39675</c:v>
                </c:pt>
                <c:pt idx="228">
                  <c:v>39676</c:v>
                </c:pt>
                <c:pt idx="229">
                  <c:v>39677</c:v>
                </c:pt>
                <c:pt idx="230">
                  <c:v>39678</c:v>
                </c:pt>
                <c:pt idx="231">
                  <c:v>39679</c:v>
                </c:pt>
                <c:pt idx="232">
                  <c:v>39680</c:v>
                </c:pt>
                <c:pt idx="233">
                  <c:v>39681</c:v>
                </c:pt>
                <c:pt idx="234">
                  <c:v>39682</c:v>
                </c:pt>
                <c:pt idx="235">
                  <c:v>39683</c:v>
                </c:pt>
                <c:pt idx="236">
                  <c:v>39684</c:v>
                </c:pt>
                <c:pt idx="237">
                  <c:v>39685</c:v>
                </c:pt>
                <c:pt idx="238">
                  <c:v>39686</c:v>
                </c:pt>
                <c:pt idx="239">
                  <c:v>39687</c:v>
                </c:pt>
                <c:pt idx="240">
                  <c:v>39688</c:v>
                </c:pt>
                <c:pt idx="241">
                  <c:v>39689</c:v>
                </c:pt>
                <c:pt idx="242">
                  <c:v>39690</c:v>
                </c:pt>
                <c:pt idx="243">
                  <c:v>39691</c:v>
                </c:pt>
                <c:pt idx="244">
                  <c:v>39692</c:v>
                </c:pt>
                <c:pt idx="245">
                  <c:v>39693</c:v>
                </c:pt>
                <c:pt idx="246">
                  <c:v>39694</c:v>
                </c:pt>
                <c:pt idx="247">
                  <c:v>39695</c:v>
                </c:pt>
                <c:pt idx="248">
                  <c:v>39696</c:v>
                </c:pt>
                <c:pt idx="249">
                  <c:v>39697</c:v>
                </c:pt>
                <c:pt idx="250">
                  <c:v>39698</c:v>
                </c:pt>
                <c:pt idx="251">
                  <c:v>39699</c:v>
                </c:pt>
                <c:pt idx="252">
                  <c:v>39700</c:v>
                </c:pt>
                <c:pt idx="253">
                  <c:v>39701</c:v>
                </c:pt>
                <c:pt idx="254">
                  <c:v>39702</c:v>
                </c:pt>
                <c:pt idx="255">
                  <c:v>39703</c:v>
                </c:pt>
                <c:pt idx="256">
                  <c:v>39704</c:v>
                </c:pt>
                <c:pt idx="257">
                  <c:v>39705</c:v>
                </c:pt>
                <c:pt idx="258">
                  <c:v>39706</c:v>
                </c:pt>
                <c:pt idx="259">
                  <c:v>39707</c:v>
                </c:pt>
                <c:pt idx="260">
                  <c:v>39708</c:v>
                </c:pt>
                <c:pt idx="261">
                  <c:v>39709</c:v>
                </c:pt>
                <c:pt idx="262">
                  <c:v>39710</c:v>
                </c:pt>
                <c:pt idx="263">
                  <c:v>39711</c:v>
                </c:pt>
                <c:pt idx="264">
                  <c:v>39712</c:v>
                </c:pt>
                <c:pt idx="265">
                  <c:v>39713</c:v>
                </c:pt>
                <c:pt idx="266">
                  <c:v>39714</c:v>
                </c:pt>
                <c:pt idx="267">
                  <c:v>39715</c:v>
                </c:pt>
                <c:pt idx="268">
                  <c:v>39716</c:v>
                </c:pt>
                <c:pt idx="269">
                  <c:v>39717</c:v>
                </c:pt>
                <c:pt idx="270">
                  <c:v>39718</c:v>
                </c:pt>
                <c:pt idx="271">
                  <c:v>39719</c:v>
                </c:pt>
                <c:pt idx="272">
                  <c:v>39720</c:v>
                </c:pt>
                <c:pt idx="273">
                  <c:v>39721</c:v>
                </c:pt>
                <c:pt idx="274">
                  <c:v>39722</c:v>
                </c:pt>
                <c:pt idx="275">
                  <c:v>39723</c:v>
                </c:pt>
                <c:pt idx="276">
                  <c:v>39724</c:v>
                </c:pt>
                <c:pt idx="277">
                  <c:v>39725</c:v>
                </c:pt>
                <c:pt idx="278">
                  <c:v>39726</c:v>
                </c:pt>
                <c:pt idx="279">
                  <c:v>39727</c:v>
                </c:pt>
                <c:pt idx="280">
                  <c:v>39728</c:v>
                </c:pt>
                <c:pt idx="281">
                  <c:v>39729</c:v>
                </c:pt>
                <c:pt idx="282">
                  <c:v>39730</c:v>
                </c:pt>
                <c:pt idx="283">
                  <c:v>39731</c:v>
                </c:pt>
                <c:pt idx="284">
                  <c:v>39732</c:v>
                </c:pt>
                <c:pt idx="285">
                  <c:v>39733</c:v>
                </c:pt>
                <c:pt idx="286">
                  <c:v>39734</c:v>
                </c:pt>
                <c:pt idx="287">
                  <c:v>39735</c:v>
                </c:pt>
                <c:pt idx="288">
                  <c:v>39736</c:v>
                </c:pt>
                <c:pt idx="289">
                  <c:v>39737</c:v>
                </c:pt>
                <c:pt idx="290">
                  <c:v>39738</c:v>
                </c:pt>
                <c:pt idx="291">
                  <c:v>39739</c:v>
                </c:pt>
                <c:pt idx="292">
                  <c:v>39740</c:v>
                </c:pt>
                <c:pt idx="293">
                  <c:v>39741</c:v>
                </c:pt>
                <c:pt idx="294">
                  <c:v>39742</c:v>
                </c:pt>
                <c:pt idx="295">
                  <c:v>39743</c:v>
                </c:pt>
                <c:pt idx="296">
                  <c:v>39744</c:v>
                </c:pt>
                <c:pt idx="297">
                  <c:v>39745</c:v>
                </c:pt>
                <c:pt idx="298">
                  <c:v>39746</c:v>
                </c:pt>
                <c:pt idx="299">
                  <c:v>39747</c:v>
                </c:pt>
                <c:pt idx="300">
                  <c:v>39748</c:v>
                </c:pt>
                <c:pt idx="301">
                  <c:v>39749</c:v>
                </c:pt>
                <c:pt idx="302">
                  <c:v>39750</c:v>
                </c:pt>
                <c:pt idx="303">
                  <c:v>39751</c:v>
                </c:pt>
                <c:pt idx="304">
                  <c:v>39752</c:v>
                </c:pt>
                <c:pt idx="305">
                  <c:v>39753</c:v>
                </c:pt>
                <c:pt idx="306">
                  <c:v>39754</c:v>
                </c:pt>
                <c:pt idx="307">
                  <c:v>39755</c:v>
                </c:pt>
                <c:pt idx="308">
                  <c:v>39756</c:v>
                </c:pt>
                <c:pt idx="309">
                  <c:v>39757</c:v>
                </c:pt>
                <c:pt idx="310">
                  <c:v>39758</c:v>
                </c:pt>
                <c:pt idx="311">
                  <c:v>39759</c:v>
                </c:pt>
                <c:pt idx="312">
                  <c:v>39760</c:v>
                </c:pt>
                <c:pt idx="313">
                  <c:v>39761</c:v>
                </c:pt>
                <c:pt idx="314">
                  <c:v>39762</c:v>
                </c:pt>
                <c:pt idx="315">
                  <c:v>39763</c:v>
                </c:pt>
                <c:pt idx="316">
                  <c:v>39764</c:v>
                </c:pt>
                <c:pt idx="317">
                  <c:v>39765</c:v>
                </c:pt>
                <c:pt idx="318">
                  <c:v>39766</c:v>
                </c:pt>
                <c:pt idx="319">
                  <c:v>39767</c:v>
                </c:pt>
                <c:pt idx="320">
                  <c:v>39768</c:v>
                </c:pt>
                <c:pt idx="321">
                  <c:v>39769</c:v>
                </c:pt>
                <c:pt idx="322">
                  <c:v>39770</c:v>
                </c:pt>
                <c:pt idx="323">
                  <c:v>39771</c:v>
                </c:pt>
                <c:pt idx="324">
                  <c:v>39772</c:v>
                </c:pt>
                <c:pt idx="325">
                  <c:v>39773</c:v>
                </c:pt>
                <c:pt idx="326">
                  <c:v>39774</c:v>
                </c:pt>
                <c:pt idx="327">
                  <c:v>39775</c:v>
                </c:pt>
                <c:pt idx="328">
                  <c:v>39776</c:v>
                </c:pt>
                <c:pt idx="329">
                  <c:v>39777</c:v>
                </c:pt>
                <c:pt idx="330">
                  <c:v>39778</c:v>
                </c:pt>
                <c:pt idx="331">
                  <c:v>39779</c:v>
                </c:pt>
                <c:pt idx="332">
                  <c:v>39780</c:v>
                </c:pt>
                <c:pt idx="333">
                  <c:v>39781</c:v>
                </c:pt>
                <c:pt idx="334">
                  <c:v>39782</c:v>
                </c:pt>
                <c:pt idx="335">
                  <c:v>39783</c:v>
                </c:pt>
                <c:pt idx="336">
                  <c:v>39784</c:v>
                </c:pt>
                <c:pt idx="337">
                  <c:v>39785</c:v>
                </c:pt>
                <c:pt idx="338">
                  <c:v>39786</c:v>
                </c:pt>
                <c:pt idx="339">
                  <c:v>39787</c:v>
                </c:pt>
                <c:pt idx="340">
                  <c:v>39788</c:v>
                </c:pt>
                <c:pt idx="341">
                  <c:v>39789</c:v>
                </c:pt>
                <c:pt idx="342">
                  <c:v>39790</c:v>
                </c:pt>
                <c:pt idx="343">
                  <c:v>39791</c:v>
                </c:pt>
                <c:pt idx="344">
                  <c:v>39792</c:v>
                </c:pt>
                <c:pt idx="345">
                  <c:v>39793</c:v>
                </c:pt>
                <c:pt idx="346">
                  <c:v>39794</c:v>
                </c:pt>
                <c:pt idx="347">
                  <c:v>39795</c:v>
                </c:pt>
                <c:pt idx="348">
                  <c:v>39796</c:v>
                </c:pt>
                <c:pt idx="349">
                  <c:v>39797</c:v>
                </c:pt>
                <c:pt idx="350">
                  <c:v>39798</c:v>
                </c:pt>
                <c:pt idx="351">
                  <c:v>39799</c:v>
                </c:pt>
                <c:pt idx="352">
                  <c:v>39800</c:v>
                </c:pt>
                <c:pt idx="353">
                  <c:v>39801</c:v>
                </c:pt>
                <c:pt idx="354">
                  <c:v>39802</c:v>
                </c:pt>
                <c:pt idx="355">
                  <c:v>39803</c:v>
                </c:pt>
                <c:pt idx="356">
                  <c:v>39804</c:v>
                </c:pt>
                <c:pt idx="357">
                  <c:v>39805</c:v>
                </c:pt>
                <c:pt idx="358">
                  <c:v>39806</c:v>
                </c:pt>
                <c:pt idx="359">
                  <c:v>39807</c:v>
                </c:pt>
                <c:pt idx="360">
                  <c:v>39808</c:v>
                </c:pt>
                <c:pt idx="361">
                  <c:v>39809</c:v>
                </c:pt>
                <c:pt idx="362">
                  <c:v>39810</c:v>
                </c:pt>
                <c:pt idx="363">
                  <c:v>39811</c:v>
                </c:pt>
                <c:pt idx="364">
                  <c:v>39812</c:v>
                </c:pt>
                <c:pt idx="365">
                  <c:v>39813</c:v>
                </c:pt>
                <c:pt idx="366">
                  <c:v>39814</c:v>
                </c:pt>
                <c:pt idx="367">
                  <c:v>39815</c:v>
                </c:pt>
                <c:pt idx="368">
                  <c:v>39816</c:v>
                </c:pt>
                <c:pt idx="369">
                  <c:v>39817</c:v>
                </c:pt>
                <c:pt idx="370">
                  <c:v>39818</c:v>
                </c:pt>
                <c:pt idx="371">
                  <c:v>39819</c:v>
                </c:pt>
                <c:pt idx="372">
                  <c:v>39820</c:v>
                </c:pt>
                <c:pt idx="373">
                  <c:v>39821</c:v>
                </c:pt>
                <c:pt idx="374">
                  <c:v>39822</c:v>
                </c:pt>
                <c:pt idx="375">
                  <c:v>39823</c:v>
                </c:pt>
                <c:pt idx="376">
                  <c:v>39824</c:v>
                </c:pt>
                <c:pt idx="377">
                  <c:v>39825</c:v>
                </c:pt>
                <c:pt idx="378">
                  <c:v>39826</c:v>
                </c:pt>
                <c:pt idx="379">
                  <c:v>39827</c:v>
                </c:pt>
                <c:pt idx="380">
                  <c:v>39828</c:v>
                </c:pt>
                <c:pt idx="381">
                  <c:v>39829</c:v>
                </c:pt>
                <c:pt idx="382">
                  <c:v>39830</c:v>
                </c:pt>
                <c:pt idx="383">
                  <c:v>39831</c:v>
                </c:pt>
                <c:pt idx="384">
                  <c:v>39832</c:v>
                </c:pt>
                <c:pt idx="385">
                  <c:v>39833</c:v>
                </c:pt>
                <c:pt idx="386">
                  <c:v>39834</c:v>
                </c:pt>
                <c:pt idx="387">
                  <c:v>39835</c:v>
                </c:pt>
                <c:pt idx="388">
                  <c:v>39836</c:v>
                </c:pt>
                <c:pt idx="389">
                  <c:v>39837</c:v>
                </c:pt>
                <c:pt idx="390">
                  <c:v>39838</c:v>
                </c:pt>
                <c:pt idx="391">
                  <c:v>39839</c:v>
                </c:pt>
                <c:pt idx="392">
                  <c:v>39840</c:v>
                </c:pt>
                <c:pt idx="393">
                  <c:v>39841</c:v>
                </c:pt>
                <c:pt idx="394">
                  <c:v>39842</c:v>
                </c:pt>
                <c:pt idx="395">
                  <c:v>39843</c:v>
                </c:pt>
                <c:pt idx="396">
                  <c:v>39844</c:v>
                </c:pt>
                <c:pt idx="397">
                  <c:v>39845</c:v>
                </c:pt>
                <c:pt idx="398">
                  <c:v>39846</c:v>
                </c:pt>
                <c:pt idx="399">
                  <c:v>39847</c:v>
                </c:pt>
                <c:pt idx="400">
                  <c:v>39848</c:v>
                </c:pt>
                <c:pt idx="401">
                  <c:v>39849</c:v>
                </c:pt>
                <c:pt idx="402">
                  <c:v>39850</c:v>
                </c:pt>
                <c:pt idx="403">
                  <c:v>39851</c:v>
                </c:pt>
                <c:pt idx="404">
                  <c:v>39852</c:v>
                </c:pt>
                <c:pt idx="405">
                  <c:v>39853</c:v>
                </c:pt>
                <c:pt idx="406">
                  <c:v>39854</c:v>
                </c:pt>
                <c:pt idx="407">
                  <c:v>39855</c:v>
                </c:pt>
                <c:pt idx="408">
                  <c:v>39856</c:v>
                </c:pt>
                <c:pt idx="409">
                  <c:v>39857</c:v>
                </c:pt>
                <c:pt idx="410">
                  <c:v>39858</c:v>
                </c:pt>
                <c:pt idx="411">
                  <c:v>39859</c:v>
                </c:pt>
                <c:pt idx="412">
                  <c:v>39860</c:v>
                </c:pt>
                <c:pt idx="413">
                  <c:v>39861</c:v>
                </c:pt>
                <c:pt idx="414">
                  <c:v>39862</c:v>
                </c:pt>
                <c:pt idx="415">
                  <c:v>39863</c:v>
                </c:pt>
                <c:pt idx="416">
                  <c:v>39864</c:v>
                </c:pt>
                <c:pt idx="417">
                  <c:v>39865</c:v>
                </c:pt>
                <c:pt idx="418">
                  <c:v>39866</c:v>
                </c:pt>
                <c:pt idx="419">
                  <c:v>39867</c:v>
                </c:pt>
                <c:pt idx="420">
                  <c:v>39868</c:v>
                </c:pt>
                <c:pt idx="421">
                  <c:v>39869</c:v>
                </c:pt>
                <c:pt idx="422">
                  <c:v>39870</c:v>
                </c:pt>
                <c:pt idx="423">
                  <c:v>39871</c:v>
                </c:pt>
                <c:pt idx="424">
                  <c:v>39872</c:v>
                </c:pt>
                <c:pt idx="425">
                  <c:v>39873</c:v>
                </c:pt>
                <c:pt idx="426">
                  <c:v>39874</c:v>
                </c:pt>
                <c:pt idx="427">
                  <c:v>39875</c:v>
                </c:pt>
                <c:pt idx="428">
                  <c:v>39876</c:v>
                </c:pt>
                <c:pt idx="429">
                  <c:v>39877</c:v>
                </c:pt>
                <c:pt idx="430">
                  <c:v>39878</c:v>
                </c:pt>
                <c:pt idx="431">
                  <c:v>39879</c:v>
                </c:pt>
                <c:pt idx="432">
                  <c:v>39880</c:v>
                </c:pt>
                <c:pt idx="433">
                  <c:v>39881</c:v>
                </c:pt>
                <c:pt idx="434">
                  <c:v>39882</c:v>
                </c:pt>
                <c:pt idx="435">
                  <c:v>39883</c:v>
                </c:pt>
                <c:pt idx="436">
                  <c:v>39884</c:v>
                </c:pt>
                <c:pt idx="437">
                  <c:v>39885</c:v>
                </c:pt>
                <c:pt idx="438">
                  <c:v>39886</c:v>
                </c:pt>
                <c:pt idx="439">
                  <c:v>39887</c:v>
                </c:pt>
                <c:pt idx="440">
                  <c:v>39888</c:v>
                </c:pt>
                <c:pt idx="441">
                  <c:v>39889</c:v>
                </c:pt>
                <c:pt idx="442">
                  <c:v>39890</c:v>
                </c:pt>
                <c:pt idx="443">
                  <c:v>39891</c:v>
                </c:pt>
                <c:pt idx="444">
                  <c:v>39892</c:v>
                </c:pt>
                <c:pt idx="445">
                  <c:v>39893</c:v>
                </c:pt>
                <c:pt idx="446">
                  <c:v>39894</c:v>
                </c:pt>
                <c:pt idx="447">
                  <c:v>39895</c:v>
                </c:pt>
                <c:pt idx="448">
                  <c:v>39896</c:v>
                </c:pt>
                <c:pt idx="449">
                  <c:v>39897</c:v>
                </c:pt>
                <c:pt idx="450">
                  <c:v>39898</c:v>
                </c:pt>
                <c:pt idx="451">
                  <c:v>39899</c:v>
                </c:pt>
                <c:pt idx="452">
                  <c:v>39900</c:v>
                </c:pt>
                <c:pt idx="453">
                  <c:v>39901</c:v>
                </c:pt>
                <c:pt idx="454">
                  <c:v>39902</c:v>
                </c:pt>
                <c:pt idx="455">
                  <c:v>39903</c:v>
                </c:pt>
                <c:pt idx="456">
                  <c:v>39904</c:v>
                </c:pt>
                <c:pt idx="457">
                  <c:v>39905</c:v>
                </c:pt>
                <c:pt idx="458">
                  <c:v>39906</c:v>
                </c:pt>
                <c:pt idx="459">
                  <c:v>39907</c:v>
                </c:pt>
                <c:pt idx="460">
                  <c:v>39908</c:v>
                </c:pt>
                <c:pt idx="461">
                  <c:v>39909</c:v>
                </c:pt>
                <c:pt idx="462">
                  <c:v>39910</c:v>
                </c:pt>
                <c:pt idx="463">
                  <c:v>39911</c:v>
                </c:pt>
                <c:pt idx="464">
                  <c:v>39912</c:v>
                </c:pt>
                <c:pt idx="465">
                  <c:v>39913</c:v>
                </c:pt>
                <c:pt idx="466">
                  <c:v>39914</c:v>
                </c:pt>
                <c:pt idx="467">
                  <c:v>39915</c:v>
                </c:pt>
                <c:pt idx="468">
                  <c:v>39916</c:v>
                </c:pt>
                <c:pt idx="469">
                  <c:v>39917</c:v>
                </c:pt>
                <c:pt idx="470">
                  <c:v>39918</c:v>
                </c:pt>
                <c:pt idx="471">
                  <c:v>39919</c:v>
                </c:pt>
                <c:pt idx="472">
                  <c:v>39920</c:v>
                </c:pt>
                <c:pt idx="473">
                  <c:v>39921</c:v>
                </c:pt>
                <c:pt idx="474">
                  <c:v>39922</c:v>
                </c:pt>
                <c:pt idx="475">
                  <c:v>39923</c:v>
                </c:pt>
                <c:pt idx="476">
                  <c:v>39924</c:v>
                </c:pt>
                <c:pt idx="477">
                  <c:v>39925</c:v>
                </c:pt>
                <c:pt idx="478">
                  <c:v>39926</c:v>
                </c:pt>
                <c:pt idx="479">
                  <c:v>39927</c:v>
                </c:pt>
                <c:pt idx="480">
                  <c:v>39928</c:v>
                </c:pt>
                <c:pt idx="481">
                  <c:v>39929</c:v>
                </c:pt>
                <c:pt idx="482">
                  <c:v>39930</c:v>
                </c:pt>
                <c:pt idx="483">
                  <c:v>39931</c:v>
                </c:pt>
                <c:pt idx="484">
                  <c:v>39932</c:v>
                </c:pt>
                <c:pt idx="485">
                  <c:v>39933</c:v>
                </c:pt>
                <c:pt idx="486">
                  <c:v>39934</c:v>
                </c:pt>
                <c:pt idx="487">
                  <c:v>39935</c:v>
                </c:pt>
                <c:pt idx="488">
                  <c:v>39936</c:v>
                </c:pt>
                <c:pt idx="489">
                  <c:v>39937</c:v>
                </c:pt>
                <c:pt idx="490">
                  <c:v>39938</c:v>
                </c:pt>
                <c:pt idx="491">
                  <c:v>39939</c:v>
                </c:pt>
                <c:pt idx="492">
                  <c:v>39940</c:v>
                </c:pt>
                <c:pt idx="493">
                  <c:v>39941</c:v>
                </c:pt>
                <c:pt idx="494">
                  <c:v>39942</c:v>
                </c:pt>
                <c:pt idx="495">
                  <c:v>39943</c:v>
                </c:pt>
                <c:pt idx="496">
                  <c:v>39944</c:v>
                </c:pt>
                <c:pt idx="497">
                  <c:v>39945</c:v>
                </c:pt>
                <c:pt idx="498">
                  <c:v>39946</c:v>
                </c:pt>
                <c:pt idx="499">
                  <c:v>39947</c:v>
                </c:pt>
                <c:pt idx="500">
                  <c:v>39948</c:v>
                </c:pt>
                <c:pt idx="501">
                  <c:v>39949</c:v>
                </c:pt>
                <c:pt idx="502">
                  <c:v>39950</c:v>
                </c:pt>
                <c:pt idx="503">
                  <c:v>39951</c:v>
                </c:pt>
                <c:pt idx="504">
                  <c:v>39952</c:v>
                </c:pt>
                <c:pt idx="505">
                  <c:v>39953</c:v>
                </c:pt>
                <c:pt idx="506">
                  <c:v>39954</c:v>
                </c:pt>
                <c:pt idx="507">
                  <c:v>39955</c:v>
                </c:pt>
                <c:pt idx="508">
                  <c:v>39956</c:v>
                </c:pt>
                <c:pt idx="509">
                  <c:v>39957</c:v>
                </c:pt>
                <c:pt idx="510">
                  <c:v>39958</c:v>
                </c:pt>
                <c:pt idx="511">
                  <c:v>39959</c:v>
                </c:pt>
                <c:pt idx="512">
                  <c:v>39960</c:v>
                </c:pt>
                <c:pt idx="513">
                  <c:v>39961</c:v>
                </c:pt>
                <c:pt idx="514">
                  <c:v>39962</c:v>
                </c:pt>
                <c:pt idx="515">
                  <c:v>39963</c:v>
                </c:pt>
                <c:pt idx="516">
                  <c:v>39964</c:v>
                </c:pt>
                <c:pt idx="517">
                  <c:v>39965</c:v>
                </c:pt>
                <c:pt idx="518">
                  <c:v>39966</c:v>
                </c:pt>
                <c:pt idx="519">
                  <c:v>39967</c:v>
                </c:pt>
                <c:pt idx="520">
                  <c:v>39968</c:v>
                </c:pt>
                <c:pt idx="521">
                  <c:v>39969</c:v>
                </c:pt>
                <c:pt idx="522">
                  <c:v>39970</c:v>
                </c:pt>
                <c:pt idx="523">
                  <c:v>39971</c:v>
                </c:pt>
                <c:pt idx="524">
                  <c:v>39972</c:v>
                </c:pt>
                <c:pt idx="525">
                  <c:v>39973</c:v>
                </c:pt>
                <c:pt idx="526">
                  <c:v>39974</c:v>
                </c:pt>
                <c:pt idx="527">
                  <c:v>39975</c:v>
                </c:pt>
                <c:pt idx="528">
                  <c:v>39976</c:v>
                </c:pt>
                <c:pt idx="529">
                  <c:v>39977</c:v>
                </c:pt>
                <c:pt idx="530">
                  <c:v>39978</c:v>
                </c:pt>
                <c:pt idx="531">
                  <c:v>39979</c:v>
                </c:pt>
                <c:pt idx="532">
                  <c:v>39980</c:v>
                </c:pt>
                <c:pt idx="533">
                  <c:v>39981</c:v>
                </c:pt>
                <c:pt idx="534">
                  <c:v>39982</c:v>
                </c:pt>
                <c:pt idx="535">
                  <c:v>39983</c:v>
                </c:pt>
                <c:pt idx="536">
                  <c:v>39984</c:v>
                </c:pt>
                <c:pt idx="537">
                  <c:v>39985</c:v>
                </c:pt>
                <c:pt idx="538">
                  <c:v>39986</c:v>
                </c:pt>
                <c:pt idx="539">
                  <c:v>39987</c:v>
                </c:pt>
                <c:pt idx="540">
                  <c:v>39988</c:v>
                </c:pt>
                <c:pt idx="541">
                  <c:v>39989</c:v>
                </c:pt>
                <c:pt idx="542">
                  <c:v>39990</c:v>
                </c:pt>
                <c:pt idx="543">
                  <c:v>39991</c:v>
                </c:pt>
                <c:pt idx="544">
                  <c:v>39992</c:v>
                </c:pt>
                <c:pt idx="545">
                  <c:v>39993</c:v>
                </c:pt>
                <c:pt idx="546">
                  <c:v>39994</c:v>
                </c:pt>
                <c:pt idx="547">
                  <c:v>39995</c:v>
                </c:pt>
                <c:pt idx="548">
                  <c:v>39996</c:v>
                </c:pt>
                <c:pt idx="549">
                  <c:v>39997</c:v>
                </c:pt>
                <c:pt idx="550">
                  <c:v>39998</c:v>
                </c:pt>
                <c:pt idx="551">
                  <c:v>39999</c:v>
                </c:pt>
                <c:pt idx="552">
                  <c:v>40000</c:v>
                </c:pt>
                <c:pt idx="553">
                  <c:v>40001</c:v>
                </c:pt>
                <c:pt idx="554">
                  <c:v>40002</c:v>
                </c:pt>
                <c:pt idx="555">
                  <c:v>40003</c:v>
                </c:pt>
                <c:pt idx="556">
                  <c:v>40004</c:v>
                </c:pt>
                <c:pt idx="557">
                  <c:v>40005</c:v>
                </c:pt>
                <c:pt idx="558">
                  <c:v>40006</c:v>
                </c:pt>
                <c:pt idx="559">
                  <c:v>40007</c:v>
                </c:pt>
                <c:pt idx="560">
                  <c:v>40008</c:v>
                </c:pt>
                <c:pt idx="561">
                  <c:v>40009</c:v>
                </c:pt>
                <c:pt idx="562">
                  <c:v>40010</c:v>
                </c:pt>
                <c:pt idx="563">
                  <c:v>40011</c:v>
                </c:pt>
                <c:pt idx="564">
                  <c:v>40012</c:v>
                </c:pt>
                <c:pt idx="565">
                  <c:v>40013</c:v>
                </c:pt>
                <c:pt idx="566">
                  <c:v>40014</c:v>
                </c:pt>
                <c:pt idx="567">
                  <c:v>40015</c:v>
                </c:pt>
                <c:pt idx="568">
                  <c:v>40016</c:v>
                </c:pt>
                <c:pt idx="569">
                  <c:v>40017</c:v>
                </c:pt>
                <c:pt idx="570">
                  <c:v>40018</c:v>
                </c:pt>
                <c:pt idx="571">
                  <c:v>40019</c:v>
                </c:pt>
                <c:pt idx="572">
                  <c:v>40020</c:v>
                </c:pt>
                <c:pt idx="573">
                  <c:v>40021</c:v>
                </c:pt>
                <c:pt idx="574">
                  <c:v>40022</c:v>
                </c:pt>
                <c:pt idx="575">
                  <c:v>40023</c:v>
                </c:pt>
                <c:pt idx="576">
                  <c:v>40024</c:v>
                </c:pt>
                <c:pt idx="577">
                  <c:v>40025</c:v>
                </c:pt>
                <c:pt idx="578">
                  <c:v>40026</c:v>
                </c:pt>
                <c:pt idx="579">
                  <c:v>40027</c:v>
                </c:pt>
                <c:pt idx="580">
                  <c:v>40028</c:v>
                </c:pt>
                <c:pt idx="581">
                  <c:v>40029</c:v>
                </c:pt>
                <c:pt idx="582">
                  <c:v>40030</c:v>
                </c:pt>
                <c:pt idx="583">
                  <c:v>40031</c:v>
                </c:pt>
                <c:pt idx="584">
                  <c:v>40032</c:v>
                </c:pt>
                <c:pt idx="585">
                  <c:v>40033</c:v>
                </c:pt>
                <c:pt idx="586">
                  <c:v>40034</c:v>
                </c:pt>
                <c:pt idx="587">
                  <c:v>40035</c:v>
                </c:pt>
                <c:pt idx="588">
                  <c:v>40036</c:v>
                </c:pt>
                <c:pt idx="589">
                  <c:v>40037</c:v>
                </c:pt>
                <c:pt idx="590">
                  <c:v>40038</c:v>
                </c:pt>
                <c:pt idx="591">
                  <c:v>40039</c:v>
                </c:pt>
                <c:pt idx="592">
                  <c:v>40040</c:v>
                </c:pt>
                <c:pt idx="593">
                  <c:v>40041</c:v>
                </c:pt>
                <c:pt idx="594">
                  <c:v>40042</c:v>
                </c:pt>
                <c:pt idx="595">
                  <c:v>40043</c:v>
                </c:pt>
                <c:pt idx="596">
                  <c:v>40044</c:v>
                </c:pt>
                <c:pt idx="597">
                  <c:v>40045</c:v>
                </c:pt>
                <c:pt idx="598">
                  <c:v>40046</c:v>
                </c:pt>
                <c:pt idx="599">
                  <c:v>40047</c:v>
                </c:pt>
                <c:pt idx="600">
                  <c:v>40048</c:v>
                </c:pt>
                <c:pt idx="601">
                  <c:v>40049</c:v>
                </c:pt>
                <c:pt idx="602">
                  <c:v>40050</c:v>
                </c:pt>
                <c:pt idx="603">
                  <c:v>40051</c:v>
                </c:pt>
                <c:pt idx="604">
                  <c:v>40052</c:v>
                </c:pt>
                <c:pt idx="605">
                  <c:v>40053</c:v>
                </c:pt>
                <c:pt idx="606">
                  <c:v>40054</c:v>
                </c:pt>
                <c:pt idx="607">
                  <c:v>40055</c:v>
                </c:pt>
                <c:pt idx="608">
                  <c:v>40056</c:v>
                </c:pt>
                <c:pt idx="609">
                  <c:v>40057</c:v>
                </c:pt>
                <c:pt idx="610">
                  <c:v>40058</c:v>
                </c:pt>
                <c:pt idx="611">
                  <c:v>40059</c:v>
                </c:pt>
                <c:pt idx="612">
                  <c:v>40060</c:v>
                </c:pt>
                <c:pt idx="613">
                  <c:v>40061</c:v>
                </c:pt>
                <c:pt idx="614">
                  <c:v>40062</c:v>
                </c:pt>
                <c:pt idx="615">
                  <c:v>40063</c:v>
                </c:pt>
                <c:pt idx="616">
                  <c:v>40064</c:v>
                </c:pt>
                <c:pt idx="617">
                  <c:v>40065</c:v>
                </c:pt>
                <c:pt idx="618">
                  <c:v>40066</c:v>
                </c:pt>
                <c:pt idx="619">
                  <c:v>40067</c:v>
                </c:pt>
                <c:pt idx="620">
                  <c:v>40068</c:v>
                </c:pt>
                <c:pt idx="621">
                  <c:v>40069</c:v>
                </c:pt>
                <c:pt idx="622">
                  <c:v>40070</c:v>
                </c:pt>
                <c:pt idx="623">
                  <c:v>40071</c:v>
                </c:pt>
                <c:pt idx="624">
                  <c:v>40072</c:v>
                </c:pt>
                <c:pt idx="625">
                  <c:v>40073</c:v>
                </c:pt>
                <c:pt idx="626">
                  <c:v>40074</c:v>
                </c:pt>
                <c:pt idx="627">
                  <c:v>40075</c:v>
                </c:pt>
                <c:pt idx="628">
                  <c:v>40076</c:v>
                </c:pt>
                <c:pt idx="629">
                  <c:v>40077</c:v>
                </c:pt>
                <c:pt idx="630">
                  <c:v>40078</c:v>
                </c:pt>
                <c:pt idx="631">
                  <c:v>40079</c:v>
                </c:pt>
                <c:pt idx="632">
                  <c:v>40080</c:v>
                </c:pt>
                <c:pt idx="633">
                  <c:v>40081</c:v>
                </c:pt>
                <c:pt idx="634">
                  <c:v>40082</c:v>
                </c:pt>
                <c:pt idx="635">
                  <c:v>40083</c:v>
                </c:pt>
                <c:pt idx="636">
                  <c:v>40084</c:v>
                </c:pt>
                <c:pt idx="637">
                  <c:v>40085</c:v>
                </c:pt>
                <c:pt idx="638">
                  <c:v>40086</c:v>
                </c:pt>
                <c:pt idx="639">
                  <c:v>40087</c:v>
                </c:pt>
                <c:pt idx="640">
                  <c:v>40088</c:v>
                </c:pt>
                <c:pt idx="641">
                  <c:v>40089</c:v>
                </c:pt>
                <c:pt idx="642">
                  <c:v>40090</c:v>
                </c:pt>
                <c:pt idx="643">
                  <c:v>40091</c:v>
                </c:pt>
                <c:pt idx="644">
                  <c:v>40092</c:v>
                </c:pt>
                <c:pt idx="645">
                  <c:v>40093</c:v>
                </c:pt>
                <c:pt idx="646">
                  <c:v>40094</c:v>
                </c:pt>
                <c:pt idx="647">
                  <c:v>40095</c:v>
                </c:pt>
                <c:pt idx="648">
                  <c:v>40096</c:v>
                </c:pt>
                <c:pt idx="649">
                  <c:v>40097</c:v>
                </c:pt>
                <c:pt idx="650">
                  <c:v>40098</c:v>
                </c:pt>
                <c:pt idx="651">
                  <c:v>40099</c:v>
                </c:pt>
                <c:pt idx="652">
                  <c:v>40100</c:v>
                </c:pt>
                <c:pt idx="653">
                  <c:v>40101</c:v>
                </c:pt>
                <c:pt idx="654">
                  <c:v>40102</c:v>
                </c:pt>
                <c:pt idx="655">
                  <c:v>40103</c:v>
                </c:pt>
                <c:pt idx="656">
                  <c:v>40104</c:v>
                </c:pt>
                <c:pt idx="657">
                  <c:v>40105</c:v>
                </c:pt>
                <c:pt idx="658">
                  <c:v>40106</c:v>
                </c:pt>
                <c:pt idx="659">
                  <c:v>40107</c:v>
                </c:pt>
                <c:pt idx="660">
                  <c:v>40108</c:v>
                </c:pt>
                <c:pt idx="661">
                  <c:v>40109</c:v>
                </c:pt>
                <c:pt idx="662">
                  <c:v>40110</c:v>
                </c:pt>
                <c:pt idx="663">
                  <c:v>40111</c:v>
                </c:pt>
                <c:pt idx="664">
                  <c:v>40112</c:v>
                </c:pt>
                <c:pt idx="665">
                  <c:v>40113</c:v>
                </c:pt>
                <c:pt idx="666">
                  <c:v>40114</c:v>
                </c:pt>
                <c:pt idx="667">
                  <c:v>40115</c:v>
                </c:pt>
                <c:pt idx="668">
                  <c:v>40116</c:v>
                </c:pt>
                <c:pt idx="669">
                  <c:v>40117</c:v>
                </c:pt>
                <c:pt idx="670">
                  <c:v>40118</c:v>
                </c:pt>
                <c:pt idx="671">
                  <c:v>40119</c:v>
                </c:pt>
                <c:pt idx="672">
                  <c:v>40120</c:v>
                </c:pt>
                <c:pt idx="673">
                  <c:v>40121</c:v>
                </c:pt>
                <c:pt idx="674">
                  <c:v>40122</c:v>
                </c:pt>
                <c:pt idx="675">
                  <c:v>40123</c:v>
                </c:pt>
                <c:pt idx="676">
                  <c:v>40124</c:v>
                </c:pt>
                <c:pt idx="677">
                  <c:v>40125</c:v>
                </c:pt>
                <c:pt idx="678">
                  <c:v>40126</c:v>
                </c:pt>
                <c:pt idx="679">
                  <c:v>40127</c:v>
                </c:pt>
                <c:pt idx="680">
                  <c:v>40128</c:v>
                </c:pt>
                <c:pt idx="681">
                  <c:v>40129</c:v>
                </c:pt>
                <c:pt idx="682">
                  <c:v>40130</c:v>
                </c:pt>
                <c:pt idx="683">
                  <c:v>40131</c:v>
                </c:pt>
                <c:pt idx="684">
                  <c:v>40132</c:v>
                </c:pt>
                <c:pt idx="685">
                  <c:v>40133</c:v>
                </c:pt>
                <c:pt idx="686">
                  <c:v>40134</c:v>
                </c:pt>
                <c:pt idx="687">
                  <c:v>40135</c:v>
                </c:pt>
                <c:pt idx="688">
                  <c:v>40136</c:v>
                </c:pt>
                <c:pt idx="689">
                  <c:v>40137</c:v>
                </c:pt>
                <c:pt idx="690">
                  <c:v>40138</c:v>
                </c:pt>
                <c:pt idx="691">
                  <c:v>40139</c:v>
                </c:pt>
                <c:pt idx="692">
                  <c:v>40140</c:v>
                </c:pt>
                <c:pt idx="693">
                  <c:v>40141</c:v>
                </c:pt>
                <c:pt idx="694">
                  <c:v>40142</c:v>
                </c:pt>
                <c:pt idx="695">
                  <c:v>40143</c:v>
                </c:pt>
                <c:pt idx="696">
                  <c:v>40144</c:v>
                </c:pt>
                <c:pt idx="697">
                  <c:v>40145</c:v>
                </c:pt>
                <c:pt idx="698">
                  <c:v>40146</c:v>
                </c:pt>
                <c:pt idx="699">
                  <c:v>40147</c:v>
                </c:pt>
                <c:pt idx="700">
                  <c:v>40148</c:v>
                </c:pt>
                <c:pt idx="701">
                  <c:v>40149</c:v>
                </c:pt>
                <c:pt idx="702">
                  <c:v>40150</c:v>
                </c:pt>
                <c:pt idx="703">
                  <c:v>40151</c:v>
                </c:pt>
                <c:pt idx="704">
                  <c:v>40152</c:v>
                </c:pt>
                <c:pt idx="705">
                  <c:v>40153</c:v>
                </c:pt>
                <c:pt idx="706">
                  <c:v>40154</c:v>
                </c:pt>
                <c:pt idx="707">
                  <c:v>40155</c:v>
                </c:pt>
                <c:pt idx="708">
                  <c:v>40156</c:v>
                </c:pt>
                <c:pt idx="709">
                  <c:v>40157</c:v>
                </c:pt>
                <c:pt idx="710">
                  <c:v>40158</c:v>
                </c:pt>
                <c:pt idx="711">
                  <c:v>40159</c:v>
                </c:pt>
                <c:pt idx="712">
                  <c:v>40160</c:v>
                </c:pt>
                <c:pt idx="713">
                  <c:v>40161</c:v>
                </c:pt>
                <c:pt idx="714">
                  <c:v>40162</c:v>
                </c:pt>
                <c:pt idx="715">
                  <c:v>40163</c:v>
                </c:pt>
                <c:pt idx="716">
                  <c:v>40164</c:v>
                </c:pt>
                <c:pt idx="717">
                  <c:v>40165</c:v>
                </c:pt>
                <c:pt idx="718">
                  <c:v>40166</c:v>
                </c:pt>
                <c:pt idx="719">
                  <c:v>40167</c:v>
                </c:pt>
                <c:pt idx="720">
                  <c:v>40168</c:v>
                </c:pt>
                <c:pt idx="721">
                  <c:v>40169</c:v>
                </c:pt>
                <c:pt idx="722">
                  <c:v>40170</c:v>
                </c:pt>
                <c:pt idx="723">
                  <c:v>40171</c:v>
                </c:pt>
                <c:pt idx="724">
                  <c:v>40172</c:v>
                </c:pt>
                <c:pt idx="725">
                  <c:v>40173</c:v>
                </c:pt>
                <c:pt idx="726">
                  <c:v>40174</c:v>
                </c:pt>
                <c:pt idx="727">
                  <c:v>40175</c:v>
                </c:pt>
                <c:pt idx="728">
                  <c:v>40176</c:v>
                </c:pt>
                <c:pt idx="729">
                  <c:v>40177</c:v>
                </c:pt>
                <c:pt idx="730">
                  <c:v>40178</c:v>
                </c:pt>
                <c:pt idx="731">
                  <c:v>40179</c:v>
                </c:pt>
                <c:pt idx="732">
                  <c:v>40180</c:v>
                </c:pt>
                <c:pt idx="733">
                  <c:v>40181</c:v>
                </c:pt>
                <c:pt idx="734">
                  <c:v>40182</c:v>
                </c:pt>
                <c:pt idx="735">
                  <c:v>40183</c:v>
                </c:pt>
                <c:pt idx="736">
                  <c:v>40184</c:v>
                </c:pt>
                <c:pt idx="737">
                  <c:v>40185</c:v>
                </c:pt>
                <c:pt idx="738">
                  <c:v>40186</c:v>
                </c:pt>
                <c:pt idx="739">
                  <c:v>40187</c:v>
                </c:pt>
                <c:pt idx="740">
                  <c:v>40188</c:v>
                </c:pt>
                <c:pt idx="741">
                  <c:v>40189</c:v>
                </c:pt>
                <c:pt idx="742">
                  <c:v>40190</c:v>
                </c:pt>
                <c:pt idx="743">
                  <c:v>40191</c:v>
                </c:pt>
                <c:pt idx="744">
                  <c:v>40192</c:v>
                </c:pt>
                <c:pt idx="745">
                  <c:v>40193</c:v>
                </c:pt>
                <c:pt idx="746">
                  <c:v>40194</c:v>
                </c:pt>
                <c:pt idx="747">
                  <c:v>40195</c:v>
                </c:pt>
                <c:pt idx="748">
                  <c:v>40196</c:v>
                </c:pt>
                <c:pt idx="749">
                  <c:v>40197</c:v>
                </c:pt>
                <c:pt idx="750">
                  <c:v>40198</c:v>
                </c:pt>
                <c:pt idx="751">
                  <c:v>40199</c:v>
                </c:pt>
                <c:pt idx="752">
                  <c:v>40200</c:v>
                </c:pt>
                <c:pt idx="753">
                  <c:v>40201</c:v>
                </c:pt>
                <c:pt idx="754">
                  <c:v>40202</c:v>
                </c:pt>
                <c:pt idx="755">
                  <c:v>40203</c:v>
                </c:pt>
                <c:pt idx="756">
                  <c:v>40204</c:v>
                </c:pt>
                <c:pt idx="757">
                  <c:v>40205</c:v>
                </c:pt>
                <c:pt idx="758">
                  <c:v>40206</c:v>
                </c:pt>
                <c:pt idx="759">
                  <c:v>40207</c:v>
                </c:pt>
                <c:pt idx="760">
                  <c:v>40208</c:v>
                </c:pt>
                <c:pt idx="761">
                  <c:v>40209</c:v>
                </c:pt>
                <c:pt idx="762">
                  <c:v>40210</c:v>
                </c:pt>
                <c:pt idx="763">
                  <c:v>40211</c:v>
                </c:pt>
                <c:pt idx="764">
                  <c:v>40212</c:v>
                </c:pt>
                <c:pt idx="765">
                  <c:v>40213</c:v>
                </c:pt>
                <c:pt idx="766">
                  <c:v>40214</c:v>
                </c:pt>
                <c:pt idx="767">
                  <c:v>40215</c:v>
                </c:pt>
                <c:pt idx="768">
                  <c:v>40216</c:v>
                </c:pt>
                <c:pt idx="769">
                  <c:v>40217</c:v>
                </c:pt>
                <c:pt idx="770">
                  <c:v>40218</c:v>
                </c:pt>
                <c:pt idx="771">
                  <c:v>40219</c:v>
                </c:pt>
                <c:pt idx="772">
                  <c:v>40220</c:v>
                </c:pt>
                <c:pt idx="773">
                  <c:v>40221</c:v>
                </c:pt>
                <c:pt idx="774">
                  <c:v>40222</c:v>
                </c:pt>
                <c:pt idx="775">
                  <c:v>40223</c:v>
                </c:pt>
                <c:pt idx="776">
                  <c:v>40224</c:v>
                </c:pt>
                <c:pt idx="777">
                  <c:v>40225</c:v>
                </c:pt>
                <c:pt idx="778">
                  <c:v>40226</c:v>
                </c:pt>
                <c:pt idx="779">
                  <c:v>40227</c:v>
                </c:pt>
                <c:pt idx="780">
                  <c:v>40228</c:v>
                </c:pt>
                <c:pt idx="781">
                  <c:v>40229</c:v>
                </c:pt>
                <c:pt idx="782">
                  <c:v>40230</c:v>
                </c:pt>
                <c:pt idx="783">
                  <c:v>40231</c:v>
                </c:pt>
                <c:pt idx="784">
                  <c:v>40232</c:v>
                </c:pt>
                <c:pt idx="785">
                  <c:v>40233</c:v>
                </c:pt>
                <c:pt idx="786">
                  <c:v>40234</c:v>
                </c:pt>
                <c:pt idx="787">
                  <c:v>40235</c:v>
                </c:pt>
                <c:pt idx="788">
                  <c:v>40236</c:v>
                </c:pt>
                <c:pt idx="789">
                  <c:v>40237</c:v>
                </c:pt>
                <c:pt idx="790">
                  <c:v>40238</c:v>
                </c:pt>
                <c:pt idx="791">
                  <c:v>40239</c:v>
                </c:pt>
                <c:pt idx="792">
                  <c:v>40240</c:v>
                </c:pt>
                <c:pt idx="793">
                  <c:v>40241</c:v>
                </c:pt>
                <c:pt idx="794">
                  <c:v>40242</c:v>
                </c:pt>
                <c:pt idx="795">
                  <c:v>40243</c:v>
                </c:pt>
                <c:pt idx="796">
                  <c:v>40244</c:v>
                </c:pt>
                <c:pt idx="797">
                  <c:v>40245</c:v>
                </c:pt>
                <c:pt idx="798">
                  <c:v>40246</c:v>
                </c:pt>
                <c:pt idx="799">
                  <c:v>40247</c:v>
                </c:pt>
                <c:pt idx="800">
                  <c:v>40248</c:v>
                </c:pt>
                <c:pt idx="801">
                  <c:v>40249</c:v>
                </c:pt>
                <c:pt idx="802">
                  <c:v>40250</c:v>
                </c:pt>
                <c:pt idx="803">
                  <c:v>40251</c:v>
                </c:pt>
                <c:pt idx="804">
                  <c:v>40252</c:v>
                </c:pt>
                <c:pt idx="805">
                  <c:v>40253</c:v>
                </c:pt>
                <c:pt idx="806">
                  <c:v>40254</c:v>
                </c:pt>
                <c:pt idx="807">
                  <c:v>40255</c:v>
                </c:pt>
                <c:pt idx="808">
                  <c:v>40256</c:v>
                </c:pt>
                <c:pt idx="809">
                  <c:v>40257</c:v>
                </c:pt>
                <c:pt idx="810">
                  <c:v>40258</c:v>
                </c:pt>
                <c:pt idx="811">
                  <c:v>40259</c:v>
                </c:pt>
                <c:pt idx="812">
                  <c:v>40260</c:v>
                </c:pt>
                <c:pt idx="813">
                  <c:v>40261</c:v>
                </c:pt>
                <c:pt idx="814">
                  <c:v>40262</c:v>
                </c:pt>
                <c:pt idx="815">
                  <c:v>40263</c:v>
                </c:pt>
                <c:pt idx="816">
                  <c:v>40264</c:v>
                </c:pt>
                <c:pt idx="817">
                  <c:v>40265</c:v>
                </c:pt>
                <c:pt idx="818">
                  <c:v>40266</c:v>
                </c:pt>
                <c:pt idx="819">
                  <c:v>40267</c:v>
                </c:pt>
                <c:pt idx="820">
                  <c:v>40268</c:v>
                </c:pt>
                <c:pt idx="821">
                  <c:v>40269</c:v>
                </c:pt>
                <c:pt idx="822">
                  <c:v>40270</c:v>
                </c:pt>
                <c:pt idx="823">
                  <c:v>40271</c:v>
                </c:pt>
                <c:pt idx="824">
                  <c:v>40272</c:v>
                </c:pt>
                <c:pt idx="825">
                  <c:v>40273</c:v>
                </c:pt>
                <c:pt idx="826">
                  <c:v>40274</c:v>
                </c:pt>
                <c:pt idx="827">
                  <c:v>40275</c:v>
                </c:pt>
                <c:pt idx="828">
                  <c:v>40276</c:v>
                </c:pt>
                <c:pt idx="829">
                  <c:v>40277</c:v>
                </c:pt>
                <c:pt idx="830">
                  <c:v>40278</c:v>
                </c:pt>
                <c:pt idx="831">
                  <c:v>40279</c:v>
                </c:pt>
                <c:pt idx="832">
                  <c:v>40280</c:v>
                </c:pt>
                <c:pt idx="833">
                  <c:v>40281</c:v>
                </c:pt>
                <c:pt idx="834">
                  <c:v>40282</c:v>
                </c:pt>
                <c:pt idx="835">
                  <c:v>40283</c:v>
                </c:pt>
                <c:pt idx="836">
                  <c:v>40284</c:v>
                </c:pt>
                <c:pt idx="837">
                  <c:v>40285</c:v>
                </c:pt>
                <c:pt idx="838">
                  <c:v>40286</c:v>
                </c:pt>
                <c:pt idx="839">
                  <c:v>40287</c:v>
                </c:pt>
                <c:pt idx="840">
                  <c:v>40288</c:v>
                </c:pt>
                <c:pt idx="841">
                  <c:v>40289</c:v>
                </c:pt>
                <c:pt idx="842">
                  <c:v>40290</c:v>
                </c:pt>
                <c:pt idx="843">
                  <c:v>40291</c:v>
                </c:pt>
                <c:pt idx="844">
                  <c:v>40292</c:v>
                </c:pt>
                <c:pt idx="845">
                  <c:v>40293</c:v>
                </c:pt>
                <c:pt idx="846">
                  <c:v>40294</c:v>
                </c:pt>
                <c:pt idx="847">
                  <c:v>40295</c:v>
                </c:pt>
                <c:pt idx="848">
                  <c:v>40296</c:v>
                </c:pt>
                <c:pt idx="849">
                  <c:v>40297</c:v>
                </c:pt>
                <c:pt idx="850">
                  <c:v>40298</c:v>
                </c:pt>
                <c:pt idx="851">
                  <c:v>40299</c:v>
                </c:pt>
                <c:pt idx="852">
                  <c:v>40300</c:v>
                </c:pt>
                <c:pt idx="853">
                  <c:v>40301</c:v>
                </c:pt>
                <c:pt idx="854">
                  <c:v>40302</c:v>
                </c:pt>
                <c:pt idx="855">
                  <c:v>40303</c:v>
                </c:pt>
                <c:pt idx="856">
                  <c:v>40304</c:v>
                </c:pt>
                <c:pt idx="857">
                  <c:v>40305</c:v>
                </c:pt>
                <c:pt idx="858">
                  <c:v>40306</c:v>
                </c:pt>
                <c:pt idx="859">
                  <c:v>40307</c:v>
                </c:pt>
                <c:pt idx="860">
                  <c:v>40308</c:v>
                </c:pt>
                <c:pt idx="861">
                  <c:v>40309</c:v>
                </c:pt>
                <c:pt idx="862">
                  <c:v>40310</c:v>
                </c:pt>
                <c:pt idx="863">
                  <c:v>40311</c:v>
                </c:pt>
                <c:pt idx="864">
                  <c:v>40312</c:v>
                </c:pt>
                <c:pt idx="865">
                  <c:v>40313</c:v>
                </c:pt>
                <c:pt idx="866">
                  <c:v>40314</c:v>
                </c:pt>
                <c:pt idx="867">
                  <c:v>40315</c:v>
                </c:pt>
                <c:pt idx="868">
                  <c:v>40316</c:v>
                </c:pt>
                <c:pt idx="869">
                  <c:v>40317</c:v>
                </c:pt>
                <c:pt idx="870">
                  <c:v>40318</c:v>
                </c:pt>
                <c:pt idx="871">
                  <c:v>40319</c:v>
                </c:pt>
                <c:pt idx="872">
                  <c:v>40320</c:v>
                </c:pt>
                <c:pt idx="873">
                  <c:v>40321</c:v>
                </c:pt>
                <c:pt idx="874">
                  <c:v>40322</c:v>
                </c:pt>
                <c:pt idx="875">
                  <c:v>40323</c:v>
                </c:pt>
                <c:pt idx="876">
                  <c:v>40324</c:v>
                </c:pt>
                <c:pt idx="877">
                  <c:v>40325</c:v>
                </c:pt>
                <c:pt idx="878">
                  <c:v>40326</c:v>
                </c:pt>
                <c:pt idx="879">
                  <c:v>40327</c:v>
                </c:pt>
                <c:pt idx="880">
                  <c:v>40328</c:v>
                </c:pt>
                <c:pt idx="881">
                  <c:v>40329</c:v>
                </c:pt>
                <c:pt idx="882">
                  <c:v>40330</c:v>
                </c:pt>
                <c:pt idx="883">
                  <c:v>40331</c:v>
                </c:pt>
                <c:pt idx="884">
                  <c:v>40332</c:v>
                </c:pt>
                <c:pt idx="885">
                  <c:v>40333</c:v>
                </c:pt>
                <c:pt idx="886">
                  <c:v>40334</c:v>
                </c:pt>
                <c:pt idx="887">
                  <c:v>40335</c:v>
                </c:pt>
                <c:pt idx="888">
                  <c:v>40336</c:v>
                </c:pt>
                <c:pt idx="889">
                  <c:v>40337</c:v>
                </c:pt>
                <c:pt idx="890">
                  <c:v>40338</c:v>
                </c:pt>
                <c:pt idx="891">
                  <c:v>40339</c:v>
                </c:pt>
                <c:pt idx="892">
                  <c:v>40340</c:v>
                </c:pt>
                <c:pt idx="893">
                  <c:v>40341</c:v>
                </c:pt>
                <c:pt idx="894">
                  <c:v>40342</c:v>
                </c:pt>
                <c:pt idx="895">
                  <c:v>40343</c:v>
                </c:pt>
                <c:pt idx="896">
                  <c:v>40344</c:v>
                </c:pt>
                <c:pt idx="897">
                  <c:v>40345</c:v>
                </c:pt>
                <c:pt idx="898">
                  <c:v>40346</c:v>
                </c:pt>
                <c:pt idx="899">
                  <c:v>40347</c:v>
                </c:pt>
                <c:pt idx="900">
                  <c:v>40348</c:v>
                </c:pt>
                <c:pt idx="901">
                  <c:v>40349</c:v>
                </c:pt>
                <c:pt idx="902">
                  <c:v>40350</c:v>
                </c:pt>
                <c:pt idx="903">
                  <c:v>40351</c:v>
                </c:pt>
                <c:pt idx="904">
                  <c:v>40352</c:v>
                </c:pt>
                <c:pt idx="905">
                  <c:v>40353</c:v>
                </c:pt>
                <c:pt idx="906">
                  <c:v>40354</c:v>
                </c:pt>
                <c:pt idx="907">
                  <c:v>40355</c:v>
                </c:pt>
                <c:pt idx="908">
                  <c:v>40356</c:v>
                </c:pt>
                <c:pt idx="909">
                  <c:v>40357</c:v>
                </c:pt>
                <c:pt idx="910">
                  <c:v>40358</c:v>
                </c:pt>
                <c:pt idx="911">
                  <c:v>40359</c:v>
                </c:pt>
                <c:pt idx="912">
                  <c:v>40360</c:v>
                </c:pt>
                <c:pt idx="913">
                  <c:v>40361</c:v>
                </c:pt>
                <c:pt idx="914">
                  <c:v>40362</c:v>
                </c:pt>
                <c:pt idx="915">
                  <c:v>40363</c:v>
                </c:pt>
                <c:pt idx="916">
                  <c:v>40364</c:v>
                </c:pt>
                <c:pt idx="917">
                  <c:v>40365</c:v>
                </c:pt>
                <c:pt idx="918">
                  <c:v>40366</c:v>
                </c:pt>
                <c:pt idx="919">
                  <c:v>40367</c:v>
                </c:pt>
                <c:pt idx="920">
                  <c:v>40368</c:v>
                </c:pt>
                <c:pt idx="921">
                  <c:v>40369</c:v>
                </c:pt>
                <c:pt idx="922">
                  <c:v>40370</c:v>
                </c:pt>
                <c:pt idx="923">
                  <c:v>40371</c:v>
                </c:pt>
                <c:pt idx="924">
                  <c:v>40372</c:v>
                </c:pt>
                <c:pt idx="925">
                  <c:v>40373</c:v>
                </c:pt>
                <c:pt idx="926">
                  <c:v>40374</c:v>
                </c:pt>
                <c:pt idx="927">
                  <c:v>40375</c:v>
                </c:pt>
                <c:pt idx="928">
                  <c:v>40376</c:v>
                </c:pt>
                <c:pt idx="929">
                  <c:v>40377</c:v>
                </c:pt>
                <c:pt idx="930">
                  <c:v>40378</c:v>
                </c:pt>
                <c:pt idx="931">
                  <c:v>40379</c:v>
                </c:pt>
                <c:pt idx="932">
                  <c:v>40380</c:v>
                </c:pt>
                <c:pt idx="933">
                  <c:v>40381</c:v>
                </c:pt>
                <c:pt idx="934">
                  <c:v>40382</c:v>
                </c:pt>
                <c:pt idx="935">
                  <c:v>40383</c:v>
                </c:pt>
                <c:pt idx="936">
                  <c:v>40384</c:v>
                </c:pt>
                <c:pt idx="937">
                  <c:v>40385</c:v>
                </c:pt>
                <c:pt idx="938">
                  <c:v>40386</c:v>
                </c:pt>
                <c:pt idx="939">
                  <c:v>40387</c:v>
                </c:pt>
                <c:pt idx="940">
                  <c:v>40388</c:v>
                </c:pt>
                <c:pt idx="941">
                  <c:v>40389</c:v>
                </c:pt>
                <c:pt idx="942">
                  <c:v>40390</c:v>
                </c:pt>
                <c:pt idx="943">
                  <c:v>40391</c:v>
                </c:pt>
                <c:pt idx="944">
                  <c:v>40392</c:v>
                </c:pt>
                <c:pt idx="945">
                  <c:v>40393</c:v>
                </c:pt>
                <c:pt idx="946">
                  <c:v>40394</c:v>
                </c:pt>
                <c:pt idx="947">
                  <c:v>40395</c:v>
                </c:pt>
                <c:pt idx="948">
                  <c:v>40396</c:v>
                </c:pt>
                <c:pt idx="949">
                  <c:v>40397</c:v>
                </c:pt>
                <c:pt idx="950">
                  <c:v>40398</c:v>
                </c:pt>
                <c:pt idx="951">
                  <c:v>40399</c:v>
                </c:pt>
                <c:pt idx="952">
                  <c:v>40400</c:v>
                </c:pt>
                <c:pt idx="953">
                  <c:v>40401</c:v>
                </c:pt>
                <c:pt idx="954">
                  <c:v>40402</c:v>
                </c:pt>
                <c:pt idx="955">
                  <c:v>40403</c:v>
                </c:pt>
                <c:pt idx="956">
                  <c:v>40404</c:v>
                </c:pt>
                <c:pt idx="957">
                  <c:v>40405</c:v>
                </c:pt>
                <c:pt idx="958">
                  <c:v>40406</c:v>
                </c:pt>
                <c:pt idx="959">
                  <c:v>40407</c:v>
                </c:pt>
                <c:pt idx="960">
                  <c:v>40408</c:v>
                </c:pt>
                <c:pt idx="961">
                  <c:v>40409</c:v>
                </c:pt>
                <c:pt idx="962">
                  <c:v>40410</c:v>
                </c:pt>
                <c:pt idx="963">
                  <c:v>40411</c:v>
                </c:pt>
                <c:pt idx="964">
                  <c:v>40412</c:v>
                </c:pt>
                <c:pt idx="965">
                  <c:v>40413</c:v>
                </c:pt>
                <c:pt idx="966">
                  <c:v>40414</c:v>
                </c:pt>
                <c:pt idx="967">
                  <c:v>40415</c:v>
                </c:pt>
                <c:pt idx="968">
                  <c:v>40416</c:v>
                </c:pt>
                <c:pt idx="969">
                  <c:v>40417</c:v>
                </c:pt>
                <c:pt idx="970">
                  <c:v>40418</c:v>
                </c:pt>
                <c:pt idx="971">
                  <c:v>40419</c:v>
                </c:pt>
                <c:pt idx="972">
                  <c:v>40420</c:v>
                </c:pt>
                <c:pt idx="973">
                  <c:v>40421</c:v>
                </c:pt>
                <c:pt idx="974">
                  <c:v>40422</c:v>
                </c:pt>
                <c:pt idx="975">
                  <c:v>40423</c:v>
                </c:pt>
                <c:pt idx="976">
                  <c:v>40424</c:v>
                </c:pt>
                <c:pt idx="977">
                  <c:v>40425</c:v>
                </c:pt>
                <c:pt idx="978">
                  <c:v>40426</c:v>
                </c:pt>
                <c:pt idx="979">
                  <c:v>40427</c:v>
                </c:pt>
                <c:pt idx="980">
                  <c:v>40428</c:v>
                </c:pt>
                <c:pt idx="981">
                  <c:v>40429</c:v>
                </c:pt>
                <c:pt idx="982">
                  <c:v>40430</c:v>
                </c:pt>
                <c:pt idx="983">
                  <c:v>40431</c:v>
                </c:pt>
                <c:pt idx="984">
                  <c:v>40432</c:v>
                </c:pt>
                <c:pt idx="985">
                  <c:v>40433</c:v>
                </c:pt>
                <c:pt idx="986">
                  <c:v>40434</c:v>
                </c:pt>
                <c:pt idx="987">
                  <c:v>40435</c:v>
                </c:pt>
                <c:pt idx="988">
                  <c:v>40436</c:v>
                </c:pt>
                <c:pt idx="989">
                  <c:v>40437</c:v>
                </c:pt>
                <c:pt idx="990">
                  <c:v>40438</c:v>
                </c:pt>
                <c:pt idx="991">
                  <c:v>40439</c:v>
                </c:pt>
                <c:pt idx="992">
                  <c:v>40440</c:v>
                </c:pt>
                <c:pt idx="993">
                  <c:v>40441</c:v>
                </c:pt>
                <c:pt idx="994">
                  <c:v>40442</c:v>
                </c:pt>
                <c:pt idx="995">
                  <c:v>40443</c:v>
                </c:pt>
                <c:pt idx="996">
                  <c:v>40444</c:v>
                </c:pt>
                <c:pt idx="997">
                  <c:v>40445</c:v>
                </c:pt>
                <c:pt idx="998">
                  <c:v>40446</c:v>
                </c:pt>
                <c:pt idx="999">
                  <c:v>40447</c:v>
                </c:pt>
                <c:pt idx="1000">
                  <c:v>40448</c:v>
                </c:pt>
                <c:pt idx="1001">
                  <c:v>40449</c:v>
                </c:pt>
                <c:pt idx="1002">
                  <c:v>40450</c:v>
                </c:pt>
                <c:pt idx="1003">
                  <c:v>40451</c:v>
                </c:pt>
                <c:pt idx="1004">
                  <c:v>40452</c:v>
                </c:pt>
                <c:pt idx="1005">
                  <c:v>40453</c:v>
                </c:pt>
                <c:pt idx="1006">
                  <c:v>40454</c:v>
                </c:pt>
                <c:pt idx="1007">
                  <c:v>40455</c:v>
                </c:pt>
                <c:pt idx="1008">
                  <c:v>40456</c:v>
                </c:pt>
                <c:pt idx="1009">
                  <c:v>40457</c:v>
                </c:pt>
                <c:pt idx="1010">
                  <c:v>40458</c:v>
                </c:pt>
                <c:pt idx="1011">
                  <c:v>40459</c:v>
                </c:pt>
                <c:pt idx="1012">
                  <c:v>40460</c:v>
                </c:pt>
                <c:pt idx="1013">
                  <c:v>40461</c:v>
                </c:pt>
                <c:pt idx="1014">
                  <c:v>40462</c:v>
                </c:pt>
                <c:pt idx="1015">
                  <c:v>40463</c:v>
                </c:pt>
                <c:pt idx="1016">
                  <c:v>40464</c:v>
                </c:pt>
                <c:pt idx="1017">
                  <c:v>40465</c:v>
                </c:pt>
                <c:pt idx="1018">
                  <c:v>40466</c:v>
                </c:pt>
                <c:pt idx="1019">
                  <c:v>40467</c:v>
                </c:pt>
                <c:pt idx="1020">
                  <c:v>40468</c:v>
                </c:pt>
                <c:pt idx="1021">
                  <c:v>40469</c:v>
                </c:pt>
                <c:pt idx="1022">
                  <c:v>40470</c:v>
                </c:pt>
                <c:pt idx="1023">
                  <c:v>40471</c:v>
                </c:pt>
                <c:pt idx="1024">
                  <c:v>40472</c:v>
                </c:pt>
                <c:pt idx="1025">
                  <c:v>40473</c:v>
                </c:pt>
                <c:pt idx="1026">
                  <c:v>40474</c:v>
                </c:pt>
                <c:pt idx="1027">
                  <c:v>40475</c:v>
                </c:pt>
                <c:pt idx="1028">
                  <c:v>40476</c:v>
                </c:pt>
                <c:pt idx="1029">
                  <c:v>40477</c:v>
                </c:pt>
                <c:pt idx="1030">
                  <c:v>40478</c:v>
                </c:pt>
                <c:pt idx="1031">
                  <c:v>40479</c:v>
                </c:pt>
                <c:pt idx="1032">
                  <c:v>40480</c:v>
                </c:pt>
                <c:pt idx="1033">
                  <c:v>40481</c:v>
                </c:pt>
                <c:pt idx="1034">
                  <c:v>40482</c:v>
                </c:pt>
                <c:pt idx="1035">
                  <c:v>40483</c:v>
                </c:pt>
                <c:pt idx="1036">
                  <c:v>40484</c:v>
                </c:pt>
                <c:pt idx="1037">
                  <c:v>40485</c:v>
                </c:pt>
                <c:pt idx="1038">
                  <c:v>40486</c:v>
                </c:pt>
                <c:pt idx="1039">
                  <c:v>40487</c:v>
                </c:pt>
                <c:pt idx="1040">
                  <c:v>40488</c:v>
                </c:pt>
                <c:pt idx="1041">
                  <c:v>40489</c:v>
                </c:pt>
                <c:pt idx="1042">
                  <c:v>40490</c:v>
                </c:pt>
                <c:pt idx="1043">
                  <c:v>40491</c:v>
                </c:pt>
                <c:pt idx="1044">
                  <c:v>40492</c:v>
                </c:pt>
                <c:pt idx="1045">
                  <c:v>40493</c:v>
                </c:pt>
                <c:pt idx="1046">
                  <c:v>40494</c:v>
                </c:pt>
                <c:pt idx="1047">
                  <c:v>40495</c:v>
                </c:pt>
                <c:pt idx="1048">
                  <c:v>40496</c:v>
                </c:pt>
                <c:pt idx="1049">
                  <c:v>40497</c:v>
                </c:pt>
                <c:pt idx="1050">
                  <c:v>40498</c:v>
                </c:pt>
                <c:pt idx="1051">
                  <c:v>40499</c:v>
                </c:pt>
                <c:pt idx="1052">
                  <c:v>40500</c:v>
                </c:pt>
                <c:pt idx="1053">
                  <c:v>40501</c:v>
                </c:pt>
                <c:pt idx="1054">
                  <c:v>40502</c:v>
                </c:pt>
                <c:pt idx="1055">
                  <c:v>40503</c:v>
                </c:pt>
                <c:pt idx="1056">
                  <c:v>40504</c:v>
                </c:pt>
                <c:pt idx="1057">
                  <c:v>40505</c:v>
                </c:pt>
                <c:pt idx="1058">
                  <c:v>40506</c:v>
                </c:pt>
                <c:pt idx="1059">
                  <c:v>40507</c:v>
                </c:pt>
                <c:pt idx="1060">
                  <c:v>40508</c:v>
                </c:pt>
                <c:pt idx="1061">
                  <c:v>40509</c:v>
                </c:pt>
                <c:pt idx="1062">
                  <c:v>40510</c:v>
                </c:pt>
                <c:pt idx="1063">
                  <c:v>40511</c:v>
                </c:pt>
                <c:pt idx="1064">
                  <c:v>40512</c:v>
                </c:pt>
                <c:pt idx="1065">
                  <c:v>40513</c:v>
                </c:pt>
                <c:pt idx="1066">
                  <c:v>40514</c:v>
                </c:pt>
                <c:pt idx="1067">
                  <c:v>40515</c:v>
                </c:pt>
                <c:pt idx="1068">
                  <c:v>40516</c:v>
                </c:pt>
                <c:pt idx="1069">
                  <c:v>40517</c:v>
                </c:pt>
                <c:pt idx="1070">
                  <c:v>40518</c:v>
                </c:pt>
                <c:pt idx="1071">
                  <c:v>40519</c:v>
                </c:pt>
                <c:pt idx="1072">
                  <c:v>40520</c:v>
                </c:pt>
                <c:pt idx="1073">
                  <c:v>40521</c:v>
                </c:pt>
                <c:pt idx="1074">
                  <c:v>40522</c:v>
                </c:pt>
                <c:pt idx="1075">
                  <c:v>40523</c:v>
                </c:pt>
                <c:pt idx="1076">
                  <c:v>40524</c:v>
                </c:pt>
                <c:pt idx="1077">
                  <c:v>40525</c:v>
                </c:pt>
                <c:pt idx="1078">
                  <c:v>40526</c:v>
                </c:pt>
                <c:pt idx="1079">
                  <c:v>40527</c:v>
                </c:pt>
                <c:pt idx="1080">
                  <c:v>40528</c:v>
                </c:pt>
                <c:pt idx="1081">
                  <c:v>40529</c:v>
                </c:pt>
                <c:pt idx="1082">
                  <c:v>40530</c:v>
                </c:pt>
                <c:pt idx="1083">
                  <c:v>40531</c:v>
                </c:pt>
                <c:pt idx="1084">
                  <c:v>40532</c:v>
                </c:pt>
                <c:pt idx="1085">
                  <c:v>40533</c:v>
                </c:pt>
                <c:pt idx="1086">
                  <c:v>40534</c:v>
                </c:pt>
                <c:pt idx="1087">
                  <c:v>40535</c:v>
                </c:pt>
                <c:pt idx="1088">
                  <c:v>40536</c:v>
                </c:pt>
                <c:pt idx="1089">
                  <c:v>40537</c:v>
                </c:pt>
                <c:pt idx="1090">
                  <c:v>40538</c:v>
                </c:pt>
                <c:pt idx="1091">
                  <c:v>40539</c:v>
                </c:pt>
                <c:pt idx="1092">
                  <c:v>40540</c:v>
                </c:pt>
                <c:pt idx="1093">
                  <c:v>40541</c:v>
                </c:pt>
                <c:pt idx="1094">
                  <c:v>40542</c:v>
                </c:pt>
                <c:pt idx="1095">
                  <c:v>40543</c:v>
                </c:pt>
                <c:pt idx="1096">
                  <c:v>40544</c:v>
                </c:pt>
                <c:pt idx="1097">
                  <c:v>40545</c:v>
                </c:pt>
                <c:pt idx="1098">
                  <c:v>40546</c:v>
                </c:pt>
                <c:pt idx="1099">
                  <c:v>40547</c:v>
                </c:pt>
                <c:pt idx="1100">
                  <c:v>40548</c:v>
                </c:pt>
                <c:pt idx="1101">
                  <c:v>40549</c:v>
                </c:pt>
                <c:pt idx="1102">
                  <c:v>40550</c:v>
                </c:pt>
                <c:pt idx="1103">
                  <c:v>40551</c:v>
                </c:pt>
                <c:pt idx="1104">
                  <c:v>40552</c:v>
                </c:pt>
                <c:pt idx="1105">
                  <c:v>40553</c:v>
                </c:pt>
                <c:pt idx="1106">
                  <c:v>40554</c:v>
                </c:pt>
                <c:pt idx="1107">
                  <c:v>40555</c:v>
                </c:pt>
                <c:pt idx="1108">
                  <c:v>40556</c:v>
                </c:pt>
                <c:pt idx="1109">
                  <c:v>40557</c:v>
                </c:pt>
                <c:pt idx="1110">
                  <c:v>40558</c:v>
                </c:pt>
                <c:pt idx="1111">
                  <c:v>40559</c:v>
                </c:pt>
                <c:pt idx="1112">
                  <c:v>40560</c:v>
                </c:pt>
                <c:pt idx="1113">
                  <c:v>40561</c:v>
                </c:pt>
                <c:pt idx="1114">
                  <c:v>40562</c:v>
                </c:pt>
                <c:pt idx="1115">
                  <c:v>40563</c:v>
                </c:pt>
                <c:pt idx="1116">
                  <c:v>40564</c:v>
                </c:pt>
                <c:pt idx="1117">
                  <c:v>40565</c:v>
                </c:pt>
                <c:pt idx="1118">
                  <c:v>40566</c:v>
                </c:pt>
                <c:pt idx="1119">
                  <c:v>40567</c:v>
                </c:pt>
                <c:pt idx="1120">
                  <c:v>40568</c:v>
                </c:pt>
                <c:pt idx="1121">
                  <c:v>40569</c:v>
                </c:pt>
                <c:pt idx="1122">
                  <c:v>40570</c:v>
                </c:pt>
                <c:pt idx="1123">
                  <c:v>40571</c:v>
                </c:pt>
                <c:pt idx="1124">
                  <c:v>40572</c:v>
                </c:pt>
                <c:pt idx="1125">
                  <c:v>40573</c:v>
                </c:pt>
                <c:pt idx="1126">
                  <c:v>40574</c:v>
                </c:pt>
                <c:pt idx="1127">
                  <c:v>40575</c:v>
                </c:pt>
                <c:pt idx="1128">
                  <c:v>40576</c:v>
                </c:pt>
                <c:pt idx="1129">
                  <c:v>40577</c:v>
                </c:pt>
                <c:pt idx="1130">
                  <c:v>40578</c:v>
                </c:pt>
                <c:pt idx="1131">
                  <c:v>40579</c:v>
                </c:pt>
                <c:pt idx="1132">
                  <c:v>40580</c:v>
                </c:pt>
                <c:pt idx="1133">
                  <c:v>40581</c:v>
                </c:pt>
                <c:pt idx="1134">
                  <c:v>40582</c:v>
                </c:pt>
                <c:pt idx="1135">
                  <c:v>40583</c:v>
                </c:pt>
                <c:pt idx="1136">
                  <c:v>40584</c:v>
                </c:pt>
                <c:pt idx="1137">
                  <c:v>40585</c:v>
                </c:pt>
                <c:pt idx="1138">
                  <c:v>40586</c:v>
                </c:pt>
                <c:pt idx="1139">
                  <c:v>40587</c:v>
                </c:pt>
                <c:pt idx="1140">
                  <c:v>40588</c:v>
                </c:pt>
                <c:pt idx="1141">
                  <c:v>40589</c:v>
                </c:pt>
                <c:pt idx="1142">
                  <c:v>40590</c:v>
                </c:pt>
                <c:pt idx="1143">
                  <c:v>40591</c:v>
                </c:pt>
                <c:pt idx="1144">
                  <c:v>40592</c:v>
                </c:pt>
                <c:pt idx="1145">
                  <c:v>40593</c:v>
                </c:pt>
                <c:pt idx="1146">
                  <c:v>40594</c:v>
                </c:pt>
                <c:pt idx="1147">
                  <c:v>40595</c:v>
                </c:pt>
                <c:pt idx="1148">
                  <c:v>40596</c:v>
                </c:pt>
                <c:pt idx="1149">
                  <c:v>40597</c:v>
                </c:pt>
                <c:pt idx="1150">
                  <c:v>40598</c:v>
                </c:pt>
                <c:pt idx="1151">
                  <c:v>40599</c:v>
                </c:pt>
                <c:pt idx="1152">
                  <c:v>40600</c:v>
                </c:pt>
                <c:pt idx="1153">
                  <c:v>40601</c:v>
                </c:pt>
                <c:pt idx="1154">
                  <c:v>40602</c:v>
                </c:pt>
                <c:pt idx="1155">
                  <c:v>40603</c:v>
                </c:pt>
                <c:pt idx="1156">
                  <c:v>40604</c:v>
                </c:pt>
                <c:pt idx="1157">
                  <c:v>40605</c:v>
                </c:pt>
                <c:pt idx="1158">
                  <c:v>40606</c:v>
                </c:pt>
                <c:pt idx="1159">
                  <c:v>40607</c:v>
                </c:pt>
                <c:pt idx="1160">
                  <c:v>40608</c:v>
                </c:pt>
                <c:pt idx="1161">
                  <c:v>40609</c:v>
                </c:pt>
                <c:pt idx="1162">
                  <c:v>40610</c:v>
                </c:pt>
                <c:pt idx="1163">
                  <c:v>40611</c:v>
                </c:pt>
                <c:pt idx="1164">
                  <c:v>40612</c:v>
                </c:pt>
                <c:pt idx="1165">
                  <c:v>40613</c:v>
                </c:pt>
                <c:pt idx="1166">
                  <c:v>40614</c:v>
                </c:pt>
                <c:pt idx="1167">
                  <c:v>40615</c:v>
                </c:pt>
                <c:pt idx="1168">
                  <c:v>40616</c:v>
                </c:pt>
                <c:pt idx="1169">
                  <c:v>40617</c:v>
                </c:pt>
                <c:pt idx="1170">
                  <c:v>40618</c:v>
                </c:pt>
                <c:pt idx="1171">
                  <c:v>40619</c:v>
                </c:pt>
                <c:pt idx="1172">
                  <c:v>40620</c:v>
                </c:pt>
                <c:pt idx="1173">
                  <c:v>40621</c:v>
                </c:pt>
                <c:pt idx="1174">
                  <c:v>40622</c:v>
                </c:pt>
                <c:pt idx="1175">
                  <c:v>40623</c:v>
                </c:pt>
                <c:pt idx="1176">
                  <c:v>40624</c:v>
                </c:pt>
                <c:pt idx="1177">
                  <c:v>40625</c:v>
                </c:pt>
                <c:pt idx="1178">
                  <c:v>40626</c:v>
                </c:pt>
                <c:pt idx="1179">
                  <c:v>40627</c:v>
                </c:pt>
                <c:pt idx="1180">
                  <c:v>40628</c:v>
                </c:pt>
                <c:pt idx="1181">
                  <c:v>40629</c:v>
                </c:pt>
                <c:pt idx="1182">
                  <c:v>40630</c:v>
                </c:pt>
                <c:pt idx="1183">
                  <c:v>40631</c:v>
                </c:pt>
                <c:pt idx="1184">
                  <c:v>40632</c:v>
                </c:pt>
                <c:pt idx="1185">
                  <c:v>40633</c:v>
                </c:pt>
                <c:pt idx="1186">
                  <c:v>40634</c:v>
                </c:pt>
                <c:pt idx="1187">
                  <c:v>40635</c:v>
                </c:pt>
                <c:pt idx="1188">
                  <c:v>40636</c:v>
                </c:pt>
                <c:pt idx="1189">
                  <c:v>40637</c:v>
                </c:pt>
                <c:pt idx="1190">
                  <c:v>40638</c:v>
                </c:pt>
                <c:pt idx="1191">
                  <c:v>40639</c:v>
                </c:pt>
                <c:pt idx="1192">
                  <c:v>40640</c:v>
                </c:pt>
                <c:pt idx="1193">
                  <c:v>40641</c:v>
                </c:pt>
                <c:pt idx="1194">
                  <c:v>40642</c:v>
                </c:pt>
                <c:pt idx="1195">
                  <c:v>40643</c:v>
                </c:pt>
                <c:pt idx="1196">
                  <c:v>40644</c:v>
                </c:pt>
                <c:pt idx="1197">
                  <c:v>40645</c:v>
                </c:pt>
                <c:pt idx="1198">
                  <c:v>40646</c:v>
                </c:pt>
                <c:pt idx="1199">
                  <c:v>40647</c:v>
                </c:pt>
                <c:pt idx="1200">
                  <c:v>40648</c:v>
                </c:pt>
                <c:pt idx="1201">
                  <c:v>40649</c:v>
                </c:pt>
                <c:pt idx="1202">
                  <c:v>40650</c:v>
                </c:pt>
                <c:pt idx="1203">
                  <c:v>40651</c:v>
                </c:pt>
                <c:pt idx="1204">
                  <c:v>40652</c:v>
                </c:pt>
                <c:pt idx="1205">
                  <c:v>40653</c:v>
                </c:pt>
                <c:pt idx="1206">
                  <c:v>40654</c:v>
                </c:pt>
                <c:pt idx="1207">
                  <c:v>40655</c:v>
                </c:pt>
                <c:pt idx="1208">
                  <c:v>40656</c:v>
                </c:pt>
                <c:pt idx="1209">
                  <c:v>40657</c:v>
                </c:pt>
                <c:pt idx="1210">
                  <c:v>40658</c:v>
                </c:pt>
                <c:pt idx="1211">
                  <c:v>40659</c:v>
                </c:pt>
                <c:pt idx="1212">
                  <c:v>40660</c:v>
                </c:pt>
                <c:pt idx="1213">
                  <c:v>40661</c:v>
                </c:pt>
                <c:pt idx="1214">
                  <c:v>40662</c:v>
                </c:pt>
                <c:pt idx="1215">
                  <c:v>40663</c:v>
                </c:pt>
                <c:pt idx="1216">
                  <c:v>40664</c:v>
                </c:pt>
                <c:pt idx="1217">
                  <c:v>40665</c:v>
                </c:pt>
                <c:pt idx="1218">
                  <c:v>40666</c:v>
                </c:pt>
                <c:pt idx="1219">
                  <c:v>40667</c:v>
                </c:pt>
                <c:pt idx="1220">
                  <c:v>40668</c:v>
                </c:pt>
                <c:pt idx="1221">
                  <c:v>40669</c:v>
                </c:pt>
                <c:pt idx="1222">
                  <c:v>40670</c:v>
                </c:pt>
                <c:pt idx="1223">
                  <c:v>40671</c:v>
                </c:pt>
                <c:pt idx="1224">
                  <c:v>40672</c:v>
                </c:pt>
                <c:pt idx="1225">
                  <c:v>40673</c:v>
                </c:pt>
                <c:pt idx="1226">
                  <c:v>40674</c:v>
                </c:pt>
                <c:pt idx="1227">
                  <c:v>40675</c:v>
                </c:pt>
                <c:pt idx="1228">
                  <c:v>40676</c:v>
                </c:pt>
                <c:pt idx="1229">
                  <c:v>40677</c:v>
                </c:pt>
                <c:pt idx="1230">
                  <c:v>40678</c:v>
                </c:pt>
                <c:pt idx="1231">
                  <c:v>40679</c:v>
                </c:pt>
                <c:pt idx="1232">
                  <c:v>40680</c:v>
                </c:pt>
                <c:pt idx="1233">
                  <c:v>40681</c:v>
                </c:pt>
                <c:pt idx="1234">
                  <c:v>40682</c:v>
                </c:pt>
                <c:pt idx="1235">
                  <c:v>40683</c:v>
                </c:pt>
                <c:pt idx="1236">
                  <c:v>40684</c:v>
                </c:pt>
                <c:pt idx="1237">
                  <c:v>40685</c:v>
                </c:pt>
                <c:pt idx="1238">
                  <c:v>40686</c:v>
                </c:pt>
                <c:pt idx="1239">
                  <c:v>40687</c:v>
                </c:pt>
                <c:pt idx="1240">
                  <c:v>40688</c:v>
                </c:pt>
                <c:pt idx="1241">
                  <c:v>40689</c:v>
                </c:pt>
                <c:pt idx="1242">
                  <c:v>40690</c:v>
                </c:pt>
                <c:pt idx="1243">
                  <c:v>40691</c:v>
                </c:pt>
                <c:pt idx="1244">
                  <c:v>40692</c:v>
                </c:pt>
                <c:pt idx="1245">
                  <c:v>40693</c:v>
                </c:pt>
                <c:pt idx="1246">
                  <c:v>40694</c:v>
                </c:pt>
                <c:pt idx="1247">
                  <c:v>40695</c:v>
                </c:pt>
                <c:pt idx="1248">
                  <c:v>40696</c:v>
                </c:pt>
                <c:pt idx="1249">
                  <c:v>40697</c:v>
                </c:pt>
                <c:pt idx="1250">
                  <c:v>40698</c:v>
                </c:pt>
                <c:pt idx="1251">
                  <c:v>40699</c:v>
                </c:pt>
                <c:pt idx="1252">
                  <c:v>40700</c:v>
                </c:pt>
                <c:pt idx="1253">
                  <c:v>40701</c:v>
                </c:pt>
                <c:pt idx="1254">
                  <c:v>40702</c:v>
                </c:pt>
                <c:pt idx="1255">
                  <c:v>40703</c:v>
                </c:pt>
                <c:pt idx="1256">
                  <c:v>40704</c:v>
                </c:pt>
                <c:pt idx="1257">
                  <c:v>40705</c:v>
                </c:pt>
                <c:pt idx="1258">
                  <c:v>40706</c:v>
                </c:pt>
                <c:pt idx="1259">
                  <c:v>40707</c:v>
                </c:pt>
                <c:pt idx="1260">
                  <c:v>40708</c:v>
                </c:pt>
                <c:pt idx="1261">
                  <c:v>40709</c:v>
                </c:pt>
                <c:pt idx="1262">
                  <c:v>40710</c:v>
                </c:pt>
                <c:pt idx="1263">
                  <c:v>40711</c:v>
                </c:pt>
                <c:pt idx="1264">
                  <c:v>40712</c:v>
                </c:pt>
                <c:pt idx="1265">
                  <c:v>40713</c:v>
                </c:pt>
                <c:pt idx="1266">
                  <c:v>40714</c:v>
                </c:pt>
                <c:pt idx="1267">
                  <c:v>40715</c:v>
                </c:pt>
                <c:pt idx="1268">
                  <c:v>40716</c:v>
                </c:pt>
                <c:pt idx="1269">
                  <c:v>40717</c:v>
                </c:pt>
                <c:pt idx="1270">
                  <c:v>40718</c:v>
                </c:pt>
                <c:pt idx="1271">
                  <c:v>40719</c:v>
                </c:pt>
                <c:pt idx="1272">
                  <c:v>40720</c:v>
                </c:pt>
                <c:pt idx="1273">
                  <c:v>40721</c:v>
                </c:pt>
                <c:pt idx="1274">
                  <c:v>40722</c:v>
                </c:pt>
                <c:pt idx="1275">
                  <c:v>40723</c:v>
                </c:pt>
                <c:pt idx="1276">
                  <c:v>40724</c:v>
                </c:pt>
                <c:pt idx="1277">
                  <c:v>40725</c:v>
                </c:pt>
                <c:pt idx="1278">
                  <c:v>40726</c:v>
                </c:pt>
                <c:pt idx="1279">
                  <c:v>40727</c:v>
                </c:pt>
                <c:pt idx="1280">
                  <c:v>40728</c:v>
                </c:pt>
                <c:pt idx="1281">
                  <c:v>40729</c:v>
                </c:pt>
                <c:pt idx="1282">
                  <c:v>40730</c:v>
                </c:pt>
                <c:pt idx="1283">
                  <c:v>40731</c:v>
                </c:pt>
                <c:pt idx="1284">
                  <c:v>40732</c:v>
                </c:pt>
                <c:pt idx="1285">
                  <c:v>40733</c:v>
                </c:pt>
                <c:pt idx="1286">
                  <c:v>40734</c:v>
                </c:pt>
                <c:pt idx="1287">
                  <c:v>40735</c:v>
                </c:pt>
                <c:pt idx="1288">
                  <c:v>40736</c:v>
                </c:pt>
                <c:pt idx="1289">
                  <c:v>40737</c:v>
                </c:pt>
                <c:pt idx="1290">
                  <c:v>40738</c:v>
                </c:pt>
                <c:pt idx="1291">
                  <c:v>40739</c:v>
                </c:pt>
                <c:pt idx="1292">
                  <c:v>40740</c:v>
                </c:pt>
                <c:pt idx="1293">
                  <c:v>40741</c:v>
                </c:pt>
                <c:pt idx="1294">
                  <c:v>40742</c:v>
                </c:pt>
                <c:pt idx="1295">
                  <c:v>40743</c:v>
                </c:pt>
                <c:pt idx="1296">
                  <c:v>40744</c:v>
                </c:pt>
                <c:pt idx="1297">
                  <c:v>40745</c:v>
                </c:pt>
                <c:pt idx="1298">
                  <c:v>40746</c:v>
                </c:pt>
                <c:pt idx="1299">
                  <c:v>40747</c:v>
                </c:pt>
                <c:pt idx="1300">
                  <c:v>40748</c:v>
                </c:pt>
                <c:pt idx="1301">
                  <c:v>40749</c:v>
                </c:pt>
                <c:pt idx="1302">
                  <c:v>40750</c:v>
                </c:pt>
                <c:pt idx="1303">
                  <c:v>40751</c:v>
                </c:pt>
                <c:pt idx="1304">
                  <c:v>40752</c:v>
                </c:pt>
                <c:pt idx="1305">
                  <c:v>40753</c:v>
                </c:pt>
                <c:pt idx="1306">
                  <c:v>40754</c:v>
                </c:pt>
                <c:pt idx="1307">
                  <c:v>40755</c:v>
                </c:pt>
                <c:pt idx="1308">
                  <c:v>40756</c:v>
                </c:pt>
                <c:pt idx="1309">
                  <c:v>40757</c:v>
                </c:pt>
                <c:pt idx="1310">
                  <c:v>40758</c:v>
                </c:pt>
                <c:pt idx="1311">
                  <c:v>40759</c:v>
                </c:pt>
                <c:pt idx="1312">
                  <c:v>40760</c:v>
                </c:pt>
                <c:pt idx="1313">
                  <c:v>40761</c:v>
                </c:pt>
                <c:pt idx="1314">
                  <c:v>40762</c:v>
                </c:pt>
                <c:pt idx="1315">
                  <c:v>40763</c:v>
                </c:pt>
                <c:pt idx="1316">
                  <c:v>40764</c:v>
                </c:pt>
                <c:pt idx="1317">
                  <c:v>40765</c:v>
                </c:pt>
                <c:pt idx="1318">
                  <c:v>40766</c:v>
                </c:pt>
                <c:pt idx="1319">
                  <c:v>40767</c:v>
                </c:pt>
                <c:pt idx="1320">
                  <c:v>40768</c:v>
                </c:pt>
                <c:pt idx="1321">
                  <c:v>40769</c:v>
                </c:pt>
                <c:pt idx="1322">
                  <c:v>40770</c:v>
                </c:pt>
                <c:pt idx="1323">
                  <c:v>40771</c:v>
                </c:pt>
                <c:pt idx="1324">
                  <c:v>40772</c:v>
                </c:pt>
                <c:pt idx="1325">
                  <c:v>40773</c:v>
                </c:pt>
                <c:pt idx="1326">
                  <c:v>40774</c:v>
                </c:pt>
                <c:pt idx="1327">
                  <c:v>40775</c:v>
                </c:pt>
                <c:pt idx="1328">
                  <c:v>40776</c:v>
                </c:pt>
                <c:pt idx="1329">
                  <c:v>40777</c:v>
                </c:pt>
                <c:pt idx="1330">
                  <c:v>40778</c:v>
                </c:pt>
                <c:pt idx="1331">
                  <c:v>40779</c:v>
                </c:pt>
                <c:pt idx="1332">
                  <c:v>40780</c:v>
                </c:pt>
                <c:pt idx="1333">
                  <c:v>40781</c:v>
                </c:pt>
                <c:pt idx="1334">
                  <c:v>40782</c:v>
                </c:pt>
                <c:pt idx="1335">
                  <c:v>40783</c:v>
                </c:pt>
                <c:pt idx="1336">
                  <c:v>40784</c:v>
                </c:pt>
                <c:pt idx="1337">
                  <c:v>40785</c:v>
                </c:pt>
                <c:pt idx="1338">
                  <c:v>40786</c:v>
                </c:pt>
                <c:pt idx="1339">
                  <c:v>40787</c:v>
                </c:pt>
                <c:pt idx="1340">
                  <c:v>40788</c:v>
                </c:pt>
                <c:pt idx="1341">
                  <c:v>40789</c:v>
                </c:pt>
                <c:pt idx="1342">
                  <c:v>40790</c:v>
                </c:pt>
                <c:pt idx="1343">
                  <c:v>40791</c:v>
                </c:pt>
                <c:pt idx="1344">
                  <c:v>40792</c:v>
                </c:pt>
                <c:pt idx="1345">
                  <c:v>40793</c:v>
                </c:pt>
                <c:pt idx="1346">
                  <c:v>40794</c:v>
                </c:pt>
                <c:pt idx="1347">
                  <c:v>40795</c:v>
                </c:pt>
                <c:pt idx="1348">
                  <c:v>40796</c:v>
                </c:pt>
                <c:pt idx="1349">
                  <c:v>40797</c:v>
                </c:pt>
                <c:pt idx="1350">
                  <c:v>40798</c:v>
                </c:pt>
                <c:pt idx="1351">
                  <c:v>40799</c:v>
                </c:pt>
                <c:pt idx="1352">
                  <c:v>40800</c:v>
                </c:pt>
                <c:pt idx="1353">
                  <c:v>40801</c:v>
                </c:pt>
                <c:pt idx="1354">
                  <c:v>40802</c:v>
                </c:pt>
                <c:pt idx="1355">
                  <c:v>40803</c:v>
                </c:pt>
                <c:pt idx="1356">
                  <c:v>40804</c:v>
                </c:pt>
                <c:pt idx="1357">
                  <c:v>40805</c:v>
                </c:pt>
                <c:pt idx="1358">
                  <c:v>40806</c:v>
                </c:pt>
                <c:pt idx="1359">
                  <c:v>40807</c:v>
                </c:pt>
                <c:pt idx="1360">
                  <c:v>40808</c:v>
                </c:pt>
                <c:pt idx="1361">
                  <c:v>40809</c:v>
                </c:pt>
                <c:pt idx="1362">
                  <c:v>40810</c:v>
                </c:pt>
                <c:pt idx="1363">
                  <c:v>40811</c:v>
                </c:pt>
                <c:pt idx="1364">
                  <c:v>40812</c:v>
                </c:pt>
                <c:pt idx="1365">
                  <c:v>40813</c:v>
                </c:pt>
                <c:pt idx="1366">
                  <c:v>40814</c:v>
                </c:pt>
                <c:pt idx="1367">
                  <c:v>40815</c:v>
                </c:pt>
                <c:pt idx="1368">
                  <c:v>40816</c:v>
                </c:pt>
                <c:pt idx="1369">
                  <c:v>40817</c:v>
                </c:pt>
                <c:pt idx="1370">
                  <c:v>40818</c:v>
                </c:pt>
                <c:pt idx="1371">
                  <c:v>40819</c:v>
                </c:pt>
                <c:pt idx="1372">
                  <c:v>40820</c:v>
                </c:pt>
                <c:pt idx="1373">
                  <c:v>40821</c:v>
                </c:pt>
                <c:pt idx="1374">
                  <c:v>40822</c:v>
                </c:pt>
                <c:pt idx="1375">
                  <c:v>40823</c:v>
                </c:pt>
                <c:pt idx="1376">
                  <c:v>40824</c:v>
                </c:pt>
                <c:pt idx="1377">
                  <c:v>40825</c:v>
                </c:pt>
                <c:pt idx="1378">
                  <c:v>40826</c:v>
                </c:pt>
                <c:pt idx="1379">
                  <c:v>40827</c:v>
                </c:pt>
                <c:pt idx="1380">
                  <c:v>40828</c:v>
                </c:pt>
                <c:pt idx="1381">
                  <c:v>40829</c:v>
                </c:pt>
                <c:pt idx="1382">
                  <c:v>40830</c:v>
                </c:pt>
                <c:pt idx="1383">
                  <c:v>40831</c:v>
                </c:pt>
                <c:pt idx="1384">
                  <c:v>40832</c:v>
                </c:pt>
                <c:pt idx="1385">
                  <c:v>40833</c:v>
                </c:pt>
                <c:pt idx="1386">
                  <c:v>40834</c:v>
                </c:pt>
                <c:pt idx="1387">
                  <c:v>40835</c:v>
                </c:pt>
                <c:pt idx="1388">
                  <c:v>40836</c:v>
                </c:pt>
                <c:pt idx="1389">
                  <c:v>40837</c:v>
                </c:pt>
                <c:pt idx="1390">
                  <c:v>40838</c:v>
                </c:pt>
                <c:pt idx="1391">
                  <c:v>40839</c:v>
                </c:pt>
                <c:pt idx="1392">
                  <c:v>40840</c:v>
                </c:pt>
                <c:pt idx="1393">
                  <c:v>40841</c:v>
                </c:pt>
                <c:pt idx="1394">
                  <c:v>40842</c:v>
                </c:pt>
                <c:pt idx="1395">
                  <c:v>40843</c:v>
                </c:pt>
                <c:pt idx="1396">
                  <c:v>40844</c:v>
                </c:pt>
                <c:pt idx="1397">
                  <c:v>40845</c:v>
                </c:pt>
                <c:pt idx="1398">
                  <c:v>40846</c:v>
                </c:pt>
                <c:pt idx="1399">
                  <c:v>40847</c:v>
                </c:pt>
                <c:pt idx="1400">
                  <c:v>40848</c:v>
                </c:pt>
                <c:pt idx="1401">
                  <c:v>40849</c:v>
                </c:pt>
                <c:pt idx="1402">
                  <c:v>40850</c:v>
                </c:pt>
                <c:pt idx="1403">
                  <c:v>40851</c:v>
                </c:pt>
                <c:pt idx="1404">
                  <c:v>40852</c:v>
                </c:pt>
                <c:pt idx="1405">
                  <c:v>40853</c:v>
                </c:pt>
                <c:pt idx="1406">
                  <c:v>40854</c:v>
                </c:pt>
                <c:pt idx="1407">
                  <c:v>40855</c:v>
                </c:pt>
                <c:pt idx="1408">
                  <c:v>40856</c:v>
                </c:pt>
                <c:pt idx="1409">
                  <c:v>40857</c:v>
                </c:pt>
                <c:pt idx="1410">
                  <c:v>40858</c:v>
                </c:pt>
                <c:pt idx="1411">
                  <c:v>40859</c:v>
                </c:pt>
                <c:pt idx="1412">
                  <c:v>40860</c:v>
                </c:pt>
                <c:pt idx="1413">
                  <c:v>40861</c:v>
                </c:pt>
                <c:pt idx="1414">
                  <c:v>40862</c:v>
                </c:pt>
                <c:pt idx="1415">
                  <c:v>40863</c:v>
                </c:pt>
                <c:pt idx="1416">
                  <c:v>40864</c:v>
                </c:pt>
                <c:pt idx="1417">
                  <c:v>40865</c:v>
                </c:pt>
                <c:pt idx="1418">
                  <c:v>40866</c:v>
                </c:pt>
                <c:pt idx="1419">
                  <c:v>40867</c:v>
                </c:pt>
                <c:pt idx="1420">
                  <c:v>40868</c:v>
                </c:pt>
                <c:pt idx="1421">
                  <c:v>40869</c:v>
                </c:pt>
                <c:pt idx="1422">
                  <c:v>40870</c:v>
                </c:pt>
                <c:pt idx="1423">
                  <c:v>40871</c:v>
                </c:pt>
                <c:pt idx="1424">
                  <c:v>40872</c:v>
                </c:pt>
                <c:pt idx="1425">
                  <c:v>40873</c:v>
                </c:pt>
                <c:pt idx="1426">
                  <c:v>40874</c:v>
                </c:pt>
                <c:pt idx="1427">
                  <c:v>40875</c:v>
                </c:pt>
                <c:pt idx="1428">
                  <c:v>40876</c:v>
                </c:pt>
                <c:pt idx="1429">
                  <c:v>40877</c:v>
                </c:pt>
                <c:pt idx="1430">
                  <c:v>40878</c:v>
                </c:pt>
                <c:pt idx="1431">
                  <c:v>40879</c:v>
                </c:pt>
                <c:pt idx="1432">
                  <c:v>40880</c:v>
                </c:pt>
                <c:pt idx="1433">
                  <c:v>40881</c:v>
                </c:pt>
                <c:pt idx="1434">
                  <c:v>40882</c:v>
                </c:pt>
                <c:pt idx="1435">
                  <c:v>40883</c:v>
                </c:pt>
                <c:pt idx="1436">
                  <c:v>40884</c:v>
                </c:pt>
                <c:pt idx="1437">
                  <c:v>40885</c:v>
                </c:pt>
                <c:pt idx="1438">
                  <c:v>40886</c:v>
                </c:pt>
                <c:pt idx="1439">
                  <c:v>40887</c:v>
                </c:pt>
                <c:pt idx="1440">
                  <c:v>40888</c:v>
                </c:pt>
                <c:pt idx="1441">
                  <c:v>40889</c:v>
                </c:pt>
                <c:pt idx="1442">
                  <c:v>40890</c:v>
                </c:pt>
                <c:pt idx="1443">
                  <c:v>40891</c:v>
                </c:pt>
                <c:pt idx="1444">
                  <c:v>40892</c:v>
                </c:pt>
                <c:pt idx="1445">
                  <c:v>40893</c:v>
                </c:pt>
                <c:pt idx="1446">
                  <c:v>40894</c:v>
                </c:pt>
                <c:pt idx="1447">
                  <c:v>40895</c:v>
                </c:pt>
                <c:pt idx="1448">
                  <c:v>40896</c:v>
                </c:pt>
                <c:pt idx="1449">
                  <c:v>40897</c:v>
                </c:pt>
                <c:pt idx="1450">
                  <c:v>40898</c:v>
                </c:pt>
                <c:pt idx="1451">
                  <c:v>40899</c:v>
                </c:pt>
                <c:pt idx="1452">
                  <c:v>40900</c:v>
                </c:pt>
                <c:pt idx="1453">
                  <c:v>40901</c:v>
                </c:pt>
                <c:pt idx="1454">
                  <c:v>40902</c:v>
                </c:pt>
                <c:pt idx="1455">
                  <c:v>40903</c:v>
                </c:pt>
                <c:pt idx="1456">
                  <c:v>40904</c:v>
                </c:pt>
                <c:pt idx="1457">
                  <c:v>40905</c:v>
                </c:pt>
                <c:pt idx="1458">
                  <c:v>40906</c:v>
                </c:pt>
                <c:pt idx="1459">
                  <c:v>40907</c:v>
                </c:pt>
                <c:pt idx="1460">
                  <c:v>40908</c:v>
                </c:pt>
                <c:pt idx="1461">
                  <c:v>40909</c:v>
                </c:pt>
                <c:pt idx="1462">
                  <c:v>40910</c:v>
                </c:pt>
                <c:pt idx="1463">
                  <c:v>40911</c:v>
                </c:pt>
                <c:pt idx="1464">
                  <c:v>40912</c:v>
                </c:pt>
                <c:pt idx="1465">
                  <c:v>40913</c:v>
                </c:pt>
                <c:pt idx="1466">
                  <c:v>40914</c:v>
                </c:pt>
                <c:pt idx="1467">
                  <c:v>40915</c:v>
                </c:pt>
                <c:pt idx="1468">
                  <c:v>40916</c:v>
                </c:pt>
                <c:pt idx="1469">
                  <c:v>40917</c:v>
                </c:pt>
                <c:pt idx="1470">
                  <c:v>40918</c:v>
                </c:pt>
                <c:pt idx="1471">
                  <c:v>40919</c:v>
                </c:pt>
                <c:pt idx="1472">
                  <c:v>40920</c:v>
                </c:pt>
                <c:pt idx="1473">
                  <c:v>40921</c:v>
                </c:pt>
                <c:pt idx="1474">
                  <c:v>40922</c:v>
                </c:pt>
                <c:pt idx="1475">
                  <c:v>40923</c:v>
                </c:pt>
                <c:pt idx="1476">
                  <c:v>40924</c:v>
                </c:pt>
                <c:pt idx="1477">
                  <c:v>40925</c:v>
                </c:pt>
                <c:pt idx="1478">
                  <c:v>40926</c:v>
                </c:pt>
                <c:pt idx="1479">
                  <c:v>40927</c:v>
                </c:pt>
                <c:pt idx="1480">
                  <c:v>40928</c:v>
                </c:pt>
                <c:pt idx="1481">
                  <c:v>40929</c:v>
                </c:pt>
                <c:pt idx="1482">
                  <c:v>40930</c:v>
                </c:pt>
                <c:pt idx="1483">
                  <c:v>40931</c:v>
                </c:pt>
                <c:pt idx="1484">
                  <c:v>40932</c:v>
                </c:pt>
                <c:pt idx="1485">
                  <c:v>40933</c:v>
                </c:pt>
                <c:pt idx="1486">
                  <c:v>40934</c:v>
                </c:pt>
                <c:pt idx="1487">
                  <c:v>40935</c:v>
                </c:pt>
                <c:pt idx="1488">
                  <c:v>40936</c:v>
                </c:pt>
                <c:pt idx="1489">
                  <c:v>40937</c:v>
                </c:pt>
                <c:pt idx="1490">
                  <c:v>40938</c:v>
                </c:pt>
                <c:pt idx="1491">
                  <c:v>40939</c:v>
                </c:pt>
                <c:pt idx="1492">
                  <c:v>40940</c:v>
                </c:pt>
                <c:pt idx="1493">
                  <c:v>40941</c:v>
                </c:pt>
                <c:pt idx="1494">
                  <c:v>40942</c:v>
                </c:pt>
                <c:pt idx="1495">
                  <c:v>40943</c:v>
                </c:pt>
                <c:pt idx="1496">
                  <c:v>40944</c:v>
                </c:pt>
                <c:pt idx="1497">
                  <c:v>40945</c:v>
                </c:pt>
                <c:pt idx="1498">
                  <c:v>40946</c:v>
                </c:pt>
                <c:pt idx="1499">
                  <c:v>40947</c:v>
                </c:pt>
                <c:pt idx="1500">
                  <c:v>40948</c:v>
                </c:pt>
                <c:pt idx="1501">
                  <c:v>40949</c:v>
                </c:pt>
                <c:pt idx="1502">
                  <c:v>40950</c:v>
                </c:pt>
                <c:pt idx="1503">
                  <c:v>40951</c:v>
                </c:pt>
                <c:pt idx="1504">
                  <c:v>40952</c:v>
                </c:pt>
                <c:pt idx="1505">
                  <c:v>40953</c:v>
                </c:pt>
                <c:pt idx="1506">
                  <c:v>40954</c:v>
                </c:pt>
                <c:pt idx="1507">
                  <c:v>40955</c:v>
                </c:pt>
                <c:pt idx="1508">
                  <c:v>40956</c:v>
                </c:pt>
                <c:pt idx="1509">
                  <c:v>40957</c:v>
                </c:pt>
                <c:pt idx="1510">
                  <c:v>40958</c:v>
                </c:pt>
                <c:pt idx="1511">
                  <c:v>40959</c:v>
                </c:pt>
                <c:pt idx="1512">
                  <c:v>40960</c:v>
                </c:pt>
                <c:pt idx="1513">
                  <c:v>40961</c:v>
                </c:pt>
                <c:pt idx="1514">
                  <c:v>40962</c:v>
                </c:pt>
                <c:pt idx="1515">
                  <c:v>40963</c:v>
                </c:pt>
                <c:pt idx="1516">
                  <c:v>40964</c:v>
                </c:pt>
                <c:pt idx="1517">
                  <c:v>40965</c:v>
                </c:pt>
                <c:pt idx="1518">
                  <c:v>40966</c:v>
                </c:pt>
                <c:pt idx="1519">
                  <c:v>40967</c:v>
                </c:pt>
                <c:pt idx="1520">
                  <c:v>40968</c:v>
                </c:pt>
                <c:pt idx="1521">
                  <c:v>40969</c:v>
                </c:pt>
                <c:pt idx="1522">
                  <c:v>40970</c:v>
                </c:pt>
                <c:pt idx="1523">
                  <c:v>40971</c:v>
                </c:pt>
                <c:pt idx="1524">
                  <c:v>40972</c:v>
                </c:pt>
                <c:pt idx="1525">
                  <c:v>40973</c:v>
                </c:pt>
                <c:pt idx="1526">
                  <c:v>40974</c:v>
                </c:pt>
                <c:pt idx="1527">
                  <c:v>40975</c:v>
                </c:pt>
                <c:pt idx="1528">
                  <c:v>40976</c:v>
                </c:pt>
                <c:pt idx="1529">
                  <c:v>40977</c:v>
                </c:pt>
                <c:pt idx="1530">
                  <c:v>40978</c:v>
                </c:pt>
                <c:pt idx="1531">
                  <c:v>40979</c:v>
                </c:pt>
                <c:pt idx="1532">
                  <c:v>40980</c:v>
                </c:pt>
                <c:pt idx="1533">
                  <c:v>40981</c:v>
                </c:pt>
                <c:pt idx="1534">
                  <c:v>40982</c:v>
                </c:pt>
                <c:pt idx="1535">
                  <c:v>40983</c:v>
                </c:pt>
                <c:pt idx="1536">
                  <c:v>40984</c:v>
                </c:pt>
                <c:pt idx="1537">
                  <c:v>40985</c:v>
                </c:pt>
                <c:pt idx="1538">
                  <c:v>40986</c:v>
                </c:pt>
                <c:pt idx="1539">
                  <c:v>40987</c:v>
                </c:pt>
                <c:pt idx="1540">
                  <c:v>40988</c:v>
                </c:pt>
                <c:pt idx="1541">
                  <c:v>40989</c:v>
                </c:pt>
                <c:pt idx="1542">
                  <c:v>40990</c:v>
                </c:pt>
                <c:pt idx="1543">
                  <c:v>40991</c:v>
                </c:pt>
                <c:pt idx="1544">
                  <c:v>40992</c:v>
                </c:pt>
                <c:pt idx="1545">
                  <c:v>40993</c:v>
                </c:pt>
                <c:pt idx="1546">
                  <c:v>40994</c:v>
                </c:pt>
                <c:pt idx="1547">
                  <c:v>40995</c:v>
                </c:pt>
                <c:pt idx="1548">
                  <c:v>40996</c:v>
                </c:pt>
                <c:pt idx="1549">
                  <c:v>40997</c:v>
                </c:pt>
                <c:pt idx="1550">
                  <c:v>40998</c:v>
                </c:pt>
                <c:pt idx="1551">
                  <c:v>40999</c:v>
                </c:pt>
                <c:pt idx="1552">
                  <c:v>41000</c:v>
                </c:pt>
                <c:pt idx="1553">
                  <c:v>41001</c:v>
                </c:pt>
                <c:pt idx="1554">
                  <c:v>41002</c:v>
                </c:pt>
                <c:pt idx="1555">
                  <c:v>41003</c:v>
                </c:pt>
                <c:pt idx="1556">
                  <c:v>41004</c:v>
                </c:pt>
                <c:pt idx="1557">
                  <c:v>41005</c:v>
                </c:pt>
                <c:pt idx="1558">
                  <c:v>41006</c:v>
                </c:pt>
                <c:pt idx="1559">
                  <c:v>41007</c:v>
                </c:pt>
                <c:pt idx="1560">
                  <c:v>41008</c:v>
                </c:pt>
                <c:pt idx="1561">
                  <c:v>41009</c:v>
                </c:pt>
                <c:pt idx="1562">
                  <c:v>41010</c:v>
                </c:pt>
                <c:pt idx="1563">
                  <c:v>41011</c:v>
                </c:pt>
                <c:pt idx="1564">
                  <c:v>41012</c:v>
                </c:pt>
                <c:pt idx="1565">
                  <c:v>41013</c:v>
                </c:pt>
                <c:pt idx="1566">
                  <c:v>41014</c:v>
                </c:pt>
                <c:pt idx="1567">
                  <c:v>41015</c:v>
                </c:pt>
                <c:pt idx="1568">
                  <c:v>41016</c:v>
                </c:pt>
                <c:pt idx="1569">
                  <c:v>41017</c:v>
                </c:pt>
                <c:pt idx="1570">
                  <c:v>41018</c:v>
                </c:pt>
                <c:pt idx="1571">
                  <c:v>41019</c:v>
                </c:pt>
                <c:pt idx="1572">
                  <c:v>41020</c:v>
                </c:pt>
                <c:pt idx="1573">
                  <c:v>41021</c:v>
                </c:pt>
                <c:pt idx="1574">
                  <c:v>41022</c:v>
                </c:pt>
                <c:pt idx="1575">
                  <c:v>41023</c:v>
                </c:pt>
                <c:pt idx="1576">
                  <c:v>41024</c:v>
                </c:pt>
                <c:pt idx="1577">
                  <c:v>41025</c:v>
                </c:pt>
                <c:pt idx="1578">
                  <c:v>41026</c:v>
                </c:pt>
                <c:pt idx="1579">
                  <c:v>41027</c:v>
                </c:pt>
                <c:pt idx="1580">
                  <c:v>41028</c:v>
                </c:pt>
                <c:pt idx="1581">
                  <c:v>41029</c:v>
                </c:pt>
                <c:pt idx="1582">
                  <c:v>41030</c:v>
                </c:pt>
                <c:pt idx="1583">
                  <c:v>41031</c:v>
                </c:pt>
                <c:pt idx="1584">
                  <c:v>41032</c:v>
                </c:pt>
                <c:pt idx="1585">
                  <c:v>41033</c:v>
                </c:pt>
                <c:pt idx="1586">
                  <c:v>41034</c:v>
                </c:pt>
                <c:pt idx="1587">
                  <c:v>41035</c:v>
                </c:pt>
                <c:pt idx="1588">
                  <c:v>41036</c:v>
                </c:pt>
                <c:pt idx="1589">
                  <c:v>41037</c:v>
                </c:pt>
                <c:pt idx="1590">
                  <c:v>41038</c:v>
                </c:pt>
                <c:pt idx="1591">
                  <c:v>41039</c:v>
                </c:pt>
                <c:pt idx="1592">
                  <c:v>41040</c:v>
                </c:pt>
                <c:pt idx="1593">
                  <c:v>41041</c:v>
                </c:pt>
                <c:pt idx="1594">
                  <c:v>41042</c:v>
                </c:pt>
                <c:pt idx="1595">
                  <c:v>41043</c:v>
                </c:pt>
                <c:pt idx="1596">
                  <c:v>41044</c:v>
                </c:pt>
                <c:pt idx="1597">
                  <c:v>41045</c:v>
                </c:pt>
                <c:pt idx="1598">
                  <c:v>41046</c:v>
                </c:pt>
                <c:pt idx="1599">
                  <c:v>41047</c:v>
                </c:pt>
                <c:pt idx="1600">
                  <c:v>41048</c:v>
                </c:pt>
                <c:pt idx="1601">
                  <c:v>41049</c:v>
                </c:pt>
                <c:pt idx="1602">
                  <c:v>41050</c:v>
                </c:pt>
                <c:pt idx="1603">
                  <c:v>41051</c:v>
                </c:pt>
                <c:pt idx="1604">
                  <c:v>41052</c:v>
                </c:pt>
                <c:pt idx="1605">
                  <c:v>41053</c:v>
                </c:pt>
                <c:pt idx="1606">
                  <c:v>41054</c:v>
                </c:pt>
                <c:pt idx="1607">
                  <c:v>41055</c:v>
                </c:pt>
                <c:pt idx="1608">
                  <c:v>41056</c:v>
                </c:pt>
                <c:pt idx="1609">
                  <c:v>41057</c:v>
                </c:pt>
                <c:pt idx="1610">
                  <c:v>41058</c:v>
                </c:pt>
                <c:pt idx="1611">
                  <c:v>41059</c:v>
                </c:pt>
                <c:pt idx="1612">
                  <c:v>41060</c:v>
                </c:pt>
                <c:pt idx="1613">
                  <c:v>41061</c:v>
                </c:pt>
                <c:pt idx="1614">
                  <c:v>41062</c:v>
                </c:pt>
                <c:pt idx="1615">
                  <c:v>41063</c:v>
                </c:pt>
                <c:pt idx="1616">
                  <c:v>41064</c:v>
                </c:pt>
                <c:pt idx="1617">
                  <c:v>41065</c:v>
                </c:pt>
                <c:pt idx="1618">
                  <c:v>41066</c:v>
                </c:pt>
                <c:pt idx="1619">
                  <c:v>41067</c:v>
                </c:pt>
                <c:pt idx="1620">
                  <c:v>41068</c:v>
                </c:pt>
                <c:pt idx="1621">
                  <c:v>41069</c:v>
                </c:pt>
                <c:pt idx="1622">
                  <c:v>41070</c:v>
                </c:pt>
                <c:pt idx="1623">
                  <c:v>41071</c:v>
                </c:pt>
                <c:pt idx="1624">
                  <c:v>41072</c:v>
                </c:pt>
                <c:pt idx="1625">
                  <c:v>41073</c:v>
                </c:pt>
                <c:pt idx="1626">
                  <c:v>41074</c:v>
                </c:pt>
                <c:pt idx="1627">
                  <c:v>41075</c:v>
                </c:pt>
                <c:pt idx="1628">
                  <c:v>41076</c:v>
                </c:pt>
                <c:pt idx="1629">
                  <c:v>41077</c:v>
                </c:pt>
                <c:pt idx="1630">
                  <c:v>41078</c:v>
                </c:pt>
                <c:pt idx="1631">
                  <c:v>41079</c:v>
                </c:pt>
                <c:pt idx="1632">
                  <c:v>41080</c:v>
                </c:pt>
                <c:pt idx="1633">
                  <c:v>41081</c:v>
                </c:pt>
                <c:pt idx="1634">
                  <c:v>41082</c:v>
                </c:pt>
                <c:pt idx="1635">
                  <c:v>41083</c:v>
                </c:pt>
                <c:pt idx="1636">
                  <c:v>41084</c:v>
                </c:pt>
                <c:pt idx="1637">
                  <c:v>41085</c:v>
                </c:pt>
                <c:pt idx="1638">
                  <c:v>41086</c:v>
                </c:pt>
                <c:pt idx="1639">
                  <c:v>41087</c:v>
                </c:pt>
                <c:pt idx="1640">
                  <c:v>41088</c:v>
                </c:pt>
                <c:pt idx="1641">
                  <c:v>41089</c:v>
                </c:pt>
                <c:pt idx="1642">
                  <c:v>41090</c:v>
                </c:pt>
                <c:pt idx="1643">
                  <c:v>41091</c:v>
                </c:pt>
                <c:pt idx="1644">
                  <c:v>41092</c:v>
                </c:pt>
                <c:pt idx="1645">
                  <c:v>41093</c:v>
                </c:pt>
                <c:pt idx="1646">
                  <c:v>41094</c:v>
                </c:pt>
                <c:pt idx="1647">
                  <c:v>41095</c:v>
                </c:pt>
                <c:pt idx="1648">
                  <c:v>41096</c:v>
                </c:pt>
                <c:pt idx="1649">
                  <c:v>41097</c:v>
                </c:pt>
                <c:pt idx="1650">
                  <c:v>41098</c:v>
                </c:pt>
                <c:pt idx="1651">
                  <c:v>41099</c:v>
                </c:pt>
                <c:pt idx="1652">
                  <c:v>41100</c:v>
                </c:pt>
                <c:pt idx="1653">
                  <c:v>41101</c:v>
                </c:pt>
                <c:pt idx="1654">
                  <c:v>41102</c:v>
                </c:pt>
                <c:pt idx="1655">
                  <c:v>41103</c:v>
                </c:pt>
                <c:pt idx="1656">
                  <c:v>41104</c:v>
                </c:pt>
                <c:pt idx="1657">
                  <c:v>41105</c:v>
                </c:pt>
                <c:pt idx="1658">
                  <c:v>41106</c:v>
                </c:pt>
                <c:pt idx="1659">
                  <c:v>41107</c:v>
                </c:pt>
                <c:pt idx="1660">
                  <c:v>41108</c:v>
                </c:pt>
                <c:pt idx="1661">
                  <c:v>41109</c:v>
                </c:pt>
                <c:pt idx="1662">
                  <c:v>41110</c:v>
                </c:pt>
                <c:pt idx="1663">
                  <c:v>41111</c:v>
                </c:pt>
                <c:pt idx="1664">
                  <c:v>41112</c:v>
                </c:pt>
                <c:pt idx="1665">
                  <c:v>41113</c:v>
                </c:pt>
                <c:pt idx="1666">
                  <c:v>41114</c:v>
                </c:pt>
                <c:pt idx="1667">
                  <c:v>41115</c:v>
                </c:pt>
                <c:pt idx="1668">
                  <c:v>41116</c:v>
                </c:pt>
                <c:pt idx="1669">
                  <c:v>41117</c:v>
                </c:pt>
                <c:pt idx="1670">
                  <c:v>41118</c:v>
                </c:pt>
                <c:pt idx="1671">
                  <c:v>41119</c:v>
                </c:pt>
                <c:pt idx="1672">
                  <c:v>41120</c:v>
                </c:pt>
                <c:pt idx="1673">
                  <c:v>41121</c:v>
                </c:pt>
                <c:pt idx="1674">
                  <c:v>41122</c:v>
                </c:pt>
                <c:pt idx="1675">
                  <c:v>41123</c:v>
                </c:pt>
                <c:pt idx="1676">
                  <c:v>41124</c:v>
                </c:pt>
                <c:pt idx="1677">
                  <c:v>41125</c:v>
                </c:pt>
                <c:pt idx="1678">
                  <c:v>41126</c:v>
                </c:pt>
                <c:pt idx="1679">
                  <c:v>41127</c:v>
                </c:pt>
                <c:pt idx="1680">
                  <c:v>41128</c:v>
                </c:pt>
                <c:pt idx="1681">
                  <c:v>41129</c:v>
                </c:pt>
                <c:pt idx="1682">
                  <c:v>41130</c:v>
                </c:pt>
                <c:pt idx="1683">
                  <c:v>41131</c:v>
                </c:pt>
                <c:pt idx="1684">
                  <c:v>41132</c:v>
                </c:pt>
                <c:pt idx="1685">
                  <c:v>41133</c:v>
                </c:pt>
                <c:pt idx="1686">
                  <c:v>41134</c:v>
                </c:pt>
                <c:pt idx="1687">
                  <c:v>41135</c:v>
                </c:pt>
                <c:pt idx="1688">
                  <c:v>41136</c:v>
                </c:pt>
                <c:pt idx="1689">
                  <c:v>41137</c:v>
                </c:pt>
                <c:pt idx="1690">
                  <c:v>41138</c:v>
                </c:pt>
                <c:pt idx="1691">
                  <c:v>41139</c:v>
                </c:pt>
                <c:pt idx="1692">
                  <c:v>41140</c:v>
                </c:pt>
                <c:pt idx="1693">
                  <c:v>41141</c:v>
                </c:pt>
                <c:pt idx="1694">
                  <c:v>41142</c:v>
                </c:pt>
                <c:pt idx="1695">
                  <c:v>41143</c:v>
                </c:pt>
                <c:pt idx="1696">
                  <c:v>41144</c:v>
                </c:pt>
                <c:pt idx="1697">
                  <c:v>41145</c:v>
                </c:pt>
                <c:pt idx="1698">
                  <c:v>41146</c:v>
                </c:pt>
                <c:pt idx="1699">
                  <c:v>41147</c:v>
                </c:pt>
                <c:pt idx="1700">
                  <c:v>41148</c:v>
                </c:pt>
                <c:pt idx="1701">
                  <c:v>41149</c:v>
                </c:pt>
                <c:pt idx="1702">
                  <c:v>41150</c:v>
                </c:pt>
                <c:pt idx="1703">
                  <c:v>41151</c:v>
                </c:pt>
                <c:pt idx="1704">
                  <c:v>41152</c:v>
                </c:pt>
                <c:pt idx="1705">
                  <c:v>41153</c:v>
                </c:pt>
                <c:pt idx="1706">
                  <c:v>41154</c:v>
                </c:pt>
                <c:pt idx="1707">
                  <c:v>41155</c:v>
                </c:pt>
                <c:pt idx="1708">
                  <c:v>41156</c:v>
                </c:pt>
                <c:pt idx="1709">
                  <c:v>41157</c:v>
                </c:pt>
                <c:pt idx="1710">
                  <c:v>41158</c:v>
                </c:pt>
                <c:pt idx="1711">
                  <c:v>41159</c:v>
                </c:pt>
                <c:pt idx="1712">
                  <c:v>41160</c:v>
                </c:pt>
                <c:pt idx="1713">
                  <c:v>41161</c:v>
                </c:pt>
                <c:pt idx="1714">
                  <c:v>41162</c:v>
                </c:pt>
                <c:pt idx="1715">
                  <c:v>41163</c:v>
                </c:pt>
                <c:pt idx="1716">
                  <c:v>41164</c:v>
                </c:pt>
                <c:pt idx="1717">
                  <c:v>41165</c:v>
                </c:pt>
                <c:pt idx="1718">
                  <c:v>41166</c:v>
                </c:pt>
                <c:pt idx="1719">
                  <c:v>41167</c:v>
                </c:pt>
                <c:pt idx="1720">
                  <c:v>41168</c:v>
                </c:pt>
                <c:pt idx="1721">
                  <c:v>41169</c:v>
                </c:pt>
                <c:pt idx="1722">
                  <c:v>41170</c:v>
                </c:pt>
                <c:pt idx="1723">
                  <c:v>41171</c:v>
                </c:pt>
                <c:pt idx="1724">
                  <c:v>41172</c:v>
                </c:pt>
                <c:pt idx="1725">
                  <c:v>41173</c:v>
                </c:pt>
                <c:pt idx="1726">
                  <c:v>41174</c:v>
                </c:pt>
                <c:pt idx="1727">
                  <c:v>41175</c:v>
                </c:pt>
                <c:pt idx="1728">
                  <c:v>41176</c:v>
                </c:pt>
                <c:pt idx="1729">
                  <c:v>41177</c:v>
                </c:pt>
                <c:pt idx="1730">
                  <c:v>41178</c:v>
                </c:pt>
                <c:pt idx="1731">
                  <c:v>41179</c:v>
                </c:pt>
                <c:pt idx="1732">
                  <c:v>41180</c:v>
                </c:pt>
                <c:pt idx="1733">
                  <c:v>41181</c:v>
                </c:pt>
                <c:pt idx="1734">
                  <c:v>41182</c:v>
                </c:pt>
                <c:pt idx="1735">
                  <c:v>41183</c:v>
                </c:pt>
                <c:pt idx="1736">
                  <c:v>41184</c:v>
                </c:pt>
                <c:pt idx="1737">
                  <c:v>41185</c:v>
                </c:pt>
                <c:pt idx="1738">
                  <c:v>41186</c:v>
                </c:pt>
                <c:pt idx="1739">
                  <c:v>41187</c:v>
                </c:pt>
                <c:pt idx="1740">
                  <c:v>41188</c:v>
                </c:pt>
                <c:pt idx="1741">
                  <c:v>41189</c:v>
                </c:pt>
                <c:pt idx="1742">
                  <c:v>41190</c:v>
                </c:pt>
                <c:pt idx="1743">
                  <c:v>41191</c:v>
                </c:pt>
                <c:pt idx="1744">
                  <c:v>41192</c:v>
                </c:pt>
                <c:pt idx="1745">
                  <c:v>41193</c:v>
                </c:pt>
                <c:pt idx="1746">
                  <c:v>41194</c:v>
                </c:pt>
                <c:pt idx="1747">
                  <c:v>41195</c:v>
                </c:pt>
                <c:pt idx="1748">
                  <c:v>41196</c:v>
                </c:pt>
                <c:pt idx="1749">
                  <c:v>41197</c:v>
                </c:pt>
                <c:pt idx="1750">
                  <c:v>41198</c:v>
                </c:pt>
                <c:pt idx="1751">
                  <c:v>41199</c:v>
                </c:pt>
                <c:pt idx="1752">
                  <c:v>41200</c:v>
                </c:pt>
                <c:pt idx="1753">
                  <c:v>41201</c:v>
                </c:pt>
                <c:pt idx="1754">
                  <c:v>41202</c:v>
                </c:pt>
                <c:pt idx="1755">
                  <c:v>41203</c:v>
                </c:pt>
                <c:pt idx="1756">
                  <c:v>41204</c:v>
                </c:pt>
                <c:pt idx="1757">
                  <c:v>41205</c:v>
                </c:pt>
                <c:pt idx="1758">
                  <c:v>41206</c:v>
                </c:pt>
                <c:pt idx="1759">
                  <c:v>41207</c:v>
                </c:pt>
                <c:pt idx="1760">
                  <c:v>41208</c:v>
                </c:pt>
                <c:pt idx="1761">
                  <c:v>41209</c:v>
                </c:pt>
                <c:pt idx="1762">
                  <c:v>41210</c:v>
                </c:pt>
                <c:pt idx="1763">
                  <c:v>41211</c:v>
                </c:pt>
                <c:pt idx="1764">
                  <c:v>41212</c:v>
                </c:pt>
                <c:pt idx="1765">
                  <c:v>41213</c:v>
                </c:pt>
                <c:pt idx="1766">
                  <c:v>41214</c:v>
                </c:pt>
                <c:pt idx="1767">
                  <c:v>41215</c:v>
                </c:pt>
                <c:pt idx="1768">
                  <c:v>41216</c:v>
                </c:pt>
                <c:pt idx="1769">
                  <c:v>41217</c:v>
                </c:pt>
                <c:pt idx="1770">
                  <c:v>41218</c:v>
                </c:pt>
                <c:pt idx="1771">
                  <c:v>41219</c:v>
                </c:pt>
                <c:pt idx="1772">
                  <c:v>41220</c:v>
                </c:pt>
                <c:pt idx="1773">
                  <c:v>41221</c:v>
                </c:pt>
                <c:pt idx="1774">
                  <c:v>41222</c:v>
                </c:pt>
                <c:pt idx="1775">
                  <c:v>41223</c:v>
                </c:pt>
                <c:pt idx="1776">
                  <c:v>41224</c:v>
                </c:pt>
                <c:pt idx="1777">
                  <c:v>41225</c:v>
                </c:pt>
                <c:pt idx="1778">
                  <c:v>41226</c:v>
                </c:pt>
                <c:pt idx="1779">
                  <c:v>41227</c:v>
                </c:pt>
                <c:pt idx="1780">
                  <c:v>41228</c:v>
                </c:pt>
                <c:pt idx="1781">
                  <c:v>41229</c:v>
                </c:pt>
                <c:pt idx="1782">
                  <c:v>41230</c:v>
                </c:pt>
                <c:pt idx="1783">
                  <c:v>41231</c:v>
                </c:pt>
                <c:pt idx="1784">
                  <c:v>41232</c:v>
                </c:pt>
                <c:pt idx="1785">
                  <c:v>41233</c:v>
                </c:pt>
                <c:pt idx="1786">
                  <c:v>41234</c:v>
                </c:pt>
                <c:pt idx="1787">
                  <c:v>41235</c:v>
                </c:pt>
                <c:pt idx="1788">
                  <c:v>41236</c:v>
                </c:pt>
                <c:pt idx="1789">
                  <c:v>41237</c:v>
                </c:pt>
                <c:pt idx="1790">
                  <c:v>41238</c:v>
                </c:pt>
                <c:pt idx="1791">
                  <c:v>41239</c:v>
                </c:pt>
                <c:pt idx="1792">
                  <c:v>41240</c:v>
                </c:pt>
                <c:pt idx="1793">
                  <c:v>41241</c:v>
                </c:pt>
                <c:pt idx="1794">
                  <c:v>41242</c:v>
                </c:pt>
                <c:pt idx="1795">
                  <c:v>41243</c:v>
                </c:pt>
                <c:pt idx="1796">
                  <c:v>41244</c:v>
                </c:pt>
                <c:pt idx="1797">
                  <c:v>41245</c:v>
                </c:pt>
                <c:pt idx="1798">
                  <c:v>41246</c:v>
                </c:pt>
                <c:pt idx="1799">
                  <c:v>41247</c:v>
                </c:pt>
                <c:pt idx="1800">
                  <c:v>41248</c:v>
                </c:pt>
                <c:pt idx="1801">
                  <c:v>41249</c:v>
                </c:pt>
                <c:pt idx="1802">
                  <c:v>41250</c:v>
                </c:pt>
                <c:pt idx="1803">
                  <c:v>41251</c:v>
                </c:pt>
                <c:pt idx="1804">
                  <c:v>41252</c:v>
                </c:pt>
                <c:pt idx="1805">
                  <c:v>41253</c:v>
                </c:pt>
                <c:pt idx="1806">
                  <c:v>41254</c:v>
                </c:pt>
                <c:pt idx="1807">
                  <c:v>41255</c:v>
                </c:pt>
                <c:pt idx="1808">
                  <c:v>41256</c:v>
                </c:pt>
                <c:pt idx="1809">
                  <c:v>41257</c:v>
                </c:pt>
                <c:pt idx="1810">
                  <c:v>41258</c:v>
                </c:pt>
                <c:pt idx="1811">
                  <c:v>41259</c:v>
                </c:pt>
                <c:pt idx="1812">
                  <c:v>41260</c:v>
                </c:pt>
                <c:pt idx="1813">
                  <c:v>41261</c:v>
                </c:pt>
                <c:pt idx="1814">
                  <c:v>41262</c:v>
                </c:pt>
                <c:pt idx="1815">
                  <c:v>41263</c:v>
                </c:pt>
                <c:pt idx="1816">
                  <c:v>41264</c:v>
                </c:pt>
                <c:pt idx="1817">
                  <c:v>41265</c:v>
                </c:pt>
                <c:pt idx="1818">
                  <c:v>41266</c:v>
                </c:pt>
                <c:pt idx="1819">
                  <c:v>41267</c:v>
                </c:pt>
                <c:pt idx="1820">
                  <c:v>41268</c:v>
                </c:pt>
                <c:pt idx="1821">
                  <c:v>41269</c:v>
                </c:pt>
                <c:pt idx="1822">
                  <c:v>41270</c:v>
                </c:pt>
                <c:pt idx="1823">
                  <c:v>41271</c:v>
                </c:pt>
                <c:pt idx="1824">
                  <c:v>41272</c:v>
                </c:pt>
                <c:pt idx="1825">
                  <c:v>41273</c:v>
                </c:pt>
                <c:pt idx="1826">
                  <c:v>41274</c:v>
                </c:pt>
                <c:pt idx="1827">
                  <c:v>41275</c:v>
                </c:pt>
                <c:pt idx="1828">
                  <c:v>41276</c:v>
                </c:pt>
                <c:pt idx="1829">
                  <c:v>41277</c:v>
                </c:pt>
                <c:pt idx="1830">
                  <c:v>41278</c:v>
                </c:pt>
                <c:pt idx="1831">
                  <c:v>41279</c:v>
                </c:pt>
                <c:pt idx="1832">
                  <c:v>41280</c:v>
                </c:pt>
                <c:pt idx="1833">
                  <c:v>41281</c:v>
                </c:pt>
                <c:pt idx="1834">
                  <c:v>41282</c:v>
                </c:pt>
                <c:pt idx="1835">
                  <c:v>41283</c:v>
                </c:pt>
                <c:pt idx="1836">
                  <c:v>41284</c:v>
                </c:pt>
                <c:pt idx="1837">
                  <c:v>41285</c:v>
                </c:pt>
                <c:pt idx="1838">
                  <c:v>41286</c:v>
                </c:pt>
                <c:pt idx="1839">
                  <c:v>41287</c:v>
                </c:pt>
                <c:pt idx="1840">
                  <c:v>41288</c:v>
                </c:pt>
                <c:pt idx="1841">
                  <c:v>41289</c:v>
                </c:pt>
                <c:pt idx="1842">
                  <c:v>41290</c:v>
                </c:pt>
                <c:pt idx="1843">
                  <c:v>41291</c:v>
                </c:pt>
                <c:pt idx="1844">
                  <c:v>41292</c:v>
                </c:pt>
                <c:pt idx="1845">
                  <c:v>41293</c:v>
                </c:pt>
                <c:pt idx="1846">
                  <c:v>41294</c:v>
                </c:pt>
                <c:pt idx="1847">
                  <c:v>41295</c:v>
                </c:pt>
                <c:pt idx="1848">
                  <c:v>41296</c:v>
                </c:pt>
                <c:pt idx="1849">
                  <c:v>41297</c:v>
                </c:pt>
                <c:pt idx="1850">
                  <c:v>41298</c:v>
                </c:pt>
                <c:pt idx="1851">
                  <c:v>41299</c:v>
                </c:pt>
                <c:pt idx="1852">
                  <c:v>41300</c:v>
                </c:pt>
                <c:pt idx="1853">
                  <c:v>41301</c:v>
                </c:pt>
                <c:pt idx="1854">
                  <c:v>41302</c:v>
                </c:pt>
                <c:pt idx="1855">
                  <c:v>41303</c:v>
                </c:pt>
                <c:pt idx="1856">
                  <c:v>41304</c:v>
                </c:pt>
                <c:pt idx="1857">
                  <c:v>41305</c:v>
                </c:pt>
                <c:pt idx="1858">
                  <c:v>41306</c:v>
                </c:pt>
                <c:pt idx="1859">
                  <c:v>41307</c:v>
                </c:pt>
                <c:pt idx="1860">
                  <c:v>41308</c:v>
                </c:pt>
                <c:pt idx="1861">
                  <c:v>41309</c:v>
                </c:pt>
                <c:pt idx="1862">
                  <c:v>41310</c:v>
                </c:pt>
                <c:pt idx="1863">
                  <c:v>41311</c:v>
                </c:pt>
                <c:pt idx="1864">
                  <c:v>41312</c:v>
                </c:pt>
                <c:pt idx="1865">
                  <c:v>41313</c:v>
                </c:pt>
                <c:pt idx="1866">
                  <c:v>41314</c:v>
                </c:pt>
                <c:pt idx="1867">
                  <c:v>41315</c:v>
                </c:pt>
                <c:pt idx="1868">
                  <c:v>41316</c:v>
                </c:pt>
                <c:pt idx="1869">
                  <c:v>41317</c:v>
                </c:pt>
                <c:pt idx="1870">
                  <c:v>41318</c:v>
                </c:pt>
                <c:pt idx="1871">
                  <c:v>41319</c:v>
                </c:pt>
                <c:pt idx="1872">
                  <c:v>41320</c:v>
                </c:pt>
                <c:pt idx="1873">
                  <c:v>41321</c:v>
                </c:pt>
                <c:pt idx="1874">
                  <c:v>41322</c:v>
                </c:pt>
                <c:pt idx="1875">
                  <c:v>41323</c:v>
                </c:pt>
                <c:pt idx="1876">
                  <c:v>41324</c:v>
                </c:pt>
                <c:pt idx="1877">
                  <c:v>41325</c:v>
                </c:pt>
                <c:pt idx="1878">
                  <c:v>41326</c:v>
                </c:pt>
                <c:pt idx="1879">
                  <c:v>41327</c:v>
                </c:pt>
                <c:pt idx="1880">
                  <c:v>41328</c:v>
                </c:pt>
                <c:pt idx="1881">
                  <c:v>41329</c:v>
                </c:pt>
                <c:pt idx="1882">
                  <c:v>41330</c:v>
                </c:pt>
                <c:pt idx="1883">
                  <c:v>41331</c:v>
                </c:pt>
                <c:pt idx="1884">
                  <c:v>41332</c:v>
                </c:pt>
                <c:pt idx="1885">
                  <c:v>41333</c:v>
                </c:pt>
                <c:pt idx="1886">
                  <c:v>41334</c:v>
                </c:pt>
                <c:pt idx="1887">
                  <c:v>41335</c:v>
                </c:pt>
                <c:pt idx="1888">
                  <c:v>41336</c:v>
                </c:pt>
                <c:pt idx="1889">
                  <c:v>41337</c:v>
                </c:pt>
                <c:pt idx="1890">
                  <c:v>41338</c:v>
                </c:pt>
                <c:pt idx="1891">
                  <c:v>41339</c:v>
                </c:pt>
                <c:pt idx="1892">
                  <c:v>41340</c:v>
                </c:pt>
                <c:pt idx="1893">
                  <c:v>41341</c:v>
                </c:pt>
                <c:pt idx="1894">
                  <c:v>41342</c:v>
                </c:pt>
                <c:pt idx="1895">
                  <c:v>41343</c:v>
                </c:pt>
                <c:pt idx="1896">
                  <c:v>41344</c:v>
                </c:pt>
                <c:pt idx="1897">
                  <c:v>41345</c:v>
                </c:pt>
                <c:pt idx="1898">
                  <c:v>41346</c:v>
                </c:pt>
                <c:pt idx="1899">
                  <c:v>41347</c:v>
                </c:pt>
                <c:pt idx="1900">
                  <c:v>41348</c:v>
                </c:pt>
                <c:pt idx="1901">
                  <c:v>41349</c:v>
                </c:pt>
                <c:pt idx="1902">
                  <c:v>41350</c:v>
                </c:pt>
                <c:pt idx="1903">
                  <c:v>41351</c:v>
                </c:pt>
                <c:pt idx="1904">
                  <c:v>41352</c:v>
                </c:pt>
                <c:pt idx="1905">
                  <c:v>41353</c:v>
                </c:pt>
                <c:pt idx="1906">
                  <c:v>41354</c:v>
                </c:pt>
                <c:pt idx="1907">
                  <c:v>41355</c:v>
                </c:pt>
                <c:pt idx="1908">
                  <c:v>41356</c:v>
                </c:pt>
                <c:pt idx="1909">
                  <c:v>41357</c:v>
                </c:pt>
                <c:pt idx="1910">
                  <c:v>41358</c:v>
                </c:pt>
                <c:pt idx="1911">
                  <c:v>41359</c:v>
                </c:pt>
                <c:pt idx="1912">
                  <c:v>41360</c:v>
                </c:pt>
                <c:pt idx="1913">
                  <c:v>41361</c:v>
                </c:pt>
                <c:pt idx="1914">
                  <c:v>41362</c:v>
                </c:pt>
                <c:pt idx="1915">
                  <c:v>41363</c:v>
                </c:pt>
                <c:pt idx="1916">
                  <c:v>41364</c:v>
                </c:pt>
                <c:pt idx="1917">
                  <c:v>41365</c:v>
                </c:pt>
                <c:pt idx="1918">
                  <c:v>41366</c:v>
                </c:pt>
                <c:pt idx="1919">
                  <c:v>41367</c:v>
                </c:pt>
                <c:pt idx="1920">
                  <c:v>41368</c:v>
                </c:pt>
                <c:pt idx="1921">
                  <c:v>41369</c:v>
                </c:pt>
                <c:pt idx="1922">
                  <c:v>41370</c:v>
                </c:pt>
                <c:pt idx="1923">
                  <c:v>41371</c:v>
                </c:pt>
                <c:pt idx="1924">
                  <c:v>41372</c:v>
                </c:pt>
                <c:pt idx="1925">
                  <c:v>41373</c:v>
                </c:pt>
                <c:pt idx="1926">
                  <c:v>41374</c:v>
                </c:pt>
                <c:pt idx="1927">
                  <c:v>41375</c:v>
                </c:pt>
                <c:pt idx="1928">
                  <c:v>41376</c:v>
                </c:pt>
                <c:pt idx="1929">
                  <c:v>41377</c:v>
                </c:pt>
                <c:pt idx="1930">
                  <c:v>41378</c:v>
                </c:pt>
                <c:pt idx="1931">
                  <c:v>41379</c:v>
                </c:pt>
                <c:pt idx="1932">
                  <c:v>41380</c:v>
                </c:pt>
                <c:pt idx="1933">
                  <c:v>41381</c:v>
                </c:pt>
                <c:pt idx="1934">
                  <c:v>41382</c:v>
                </c:pt>
                <c:pt idx="1935">
                  <c:v>41383</c:v>
                </c:pt>
                <c:pt idx="1936">
                  <c:v>41384</c:v>
                </c:pt>
                <c:pt idx="1937">
                  <c:v>41385</c:v>
                </c:pt>
                <c:pt idx="1938">
                  <c:v>41386</c:v>
                </c:pt>
                <c:pt idx="1939">
                  <c:v>41387</c:v>
                </c:pt>
                <c:pt idx="1940">
                  <c:v>41388</c:v>
                </c:pt>
                <c:pt idx="1941">
                  <c:v>41389</c:v>
                </c:pt>
                <c:pt idx="1942">
                  <c:v>41390</c:v>
                </c:pt>
                <c:pt idx="1943">
                  <c:v>41391</c:v>
                </c:pt>
                <c:pt idx="1944">
                  <c:v>41392</c:v>
                </c:pt>
                <c:pt idx="1945">
                  <c:v>41393</c:v>
                </c:pt>
                <c:pt idx="1946">
                  <c:v>41394</c:v>
                </c:pt>
                <c:pt idx="1947">
                  <c:v>41395</c:v>
                </c:pt>
                <c:pt idx="1948">
                  <c:v>41396</c:v>
                </c:pt>
                <c:pt idx="1949">
                  <c:v>41397</c:v>
                </c:pt>
                <c:pt idx="1950">
                  <c:v>41398</c:v>
                </c:pt>
                <c:pt idx="1951">
                  <c:v>41399</c:v>
                </c:pt>
                <c:pt idx="1952">
                  <c:v>41400</c:v>
                </c:pt>
                <c:pt idx="1953">
                  <c:v>41401</c:v>
                </c:pt>
                <c:pt idx="1954">
                  <c:v>41402</c:v>
                </c:pt>
                <c:pt idx="1955">
                  <c:v>41403</c:v>
                </c:pt>
                <c:pt idx="1956">
                  <c:v>41404</c:v>
                </c:pt>
                <c:pt idx="1957">
                  <c:v>41405</c:v>
                </c:pt>
                <c:pt idx="1958">
                  <c:v>41406</c:v>
                </c:pt>
                <c:pt idx="1959">
                  <c:v>41407</c:v>
                </c:pt>
                <c:pt idx="1960">
                  <c:v>41408</c:v>
                </c:pt>
                <c:pt idx="1961">
                  <c:v>41409</c:v>
                </c:pt>
                <c:pt idx="1962">
                  <c:v>41410</c:v>
                </c:pt>
                <c:pt idx="1963">
                  <c:v>41411</c:v>
                </c:pt>
                <c:pt idx="1964">
                  <c:v>41412</c:v>
                </c:pt>
                <c:pt idx="1965">
                  <c:v>41413</c:v>
                </c:pt>
                <c:pt idx="1966">
                  <c:v>41414</c:v>
                </c:pt>
                <c:pt idx="1967">
                  <c:v>41415</c:v>
                </c:pt>
                <c:pt idx="1968">
                  <c:v>41416</c:v>
                </c:pt>
                <c:pt idx="1969">
                  <c:v>41417</c:v>
                </c:pt>
                <c:pt idx="1970">
                  <c:v>41418</c:v>
                </c:pt>
                <c:pt idx="1971">
                  <c:v>41419</c:v>
                </c:pt>
                <c:pt idx="1972">
                  <c:v>41420</c:v>
                </c:pt>
                <c:pt idx="1973">
                  <c:v>41421</c:v>
                </c:pt>
                <c:pt idx="1974">
                  <c:v>41422</c:v>
                </c:pt>
                <c:pt idx="1975">
                  <c:v>41423</c:v>
                </c:pt>
                <c:pt idx="1976">
                  <c:v>41424</c:v>
                </c:pt>
                <c:pt idx="1977">
                  <c:v>41425</c:v>
                </c:pt>
                <c:pt idx="1978">
                  <c:v>41426</c:v>
                </c:pt>
                <c:pt idx="1979">
                  <c:v>41427</c:v>
                </c:pt>
                <c:pt idx="1980">
                  <c:v>41428</c:v>
                </c:pt>
                <c:pt idx="1981">
                  <c:v>41429</c:v>
                </c:pt>
                <c:pt idx="1982">
                  <c:v>41430</c:v>
                </c:pt>
                <c:pt idx="1983">
                  <c:v>41431</c:v>
                </c:pt>
                <c:pt idx="1984">
                  <c:v>41432</c:v>
                </c:pt>
                <c:pt idx="1985">
                  <c:v>41433</c:v>
                </c:pt>
                <c:pt idx="1986">
                  <c:v>41434</c:v>
                </c:pt>
                <c:pt idx="1987">
                  <c:v>41435</c:v>
                </c:pt>
                <c:pt idx="1988">
                  <c:v>41436</c:v>
                </c:pt>
                <c:pt idx="1989">
                  <c:v>41437</c:v>
                </c:pt>
                <c:pt idx="1990">
                  <c:v>41438</c:v>
                </c:pt>
                <c:pt idx="1991">
                  <c:v>41439</c:v>
                </c:pt>
                <c:pt idx="1992">
                  <c:v>41440</c:v>
                </c:pt>
                <c:pt idx="1993">
                  <c:v>41441</c:v>
                </c:pt>
                <c:pt idx="1994">
                  <c:v>41442</c:v>
                </c:pt>
                <c:pt idx="1995">
                  <c:v>41443</c:v>
                </c:pt>
                <c:pt idx="1996">
                  <c:v>41444</c:v>
                </c:pt>
                <c:pt idx="1997">
                  <c:v>41445</c:v>
                </c:pt>
                <c:pt idx="1998">
                  <c:v>41446</c:v>
                </c:pt>
                <c:pt idx="1999">
                  <c:v>41447</c:v>
                </c:pt>
                <c:pt idx="2000">
                  <c:v>41448</c:v>
                </c:pt>
                <c:pt idx="2001">
                  <c:v>41449</c:v>
                </c:pt>
                <c:pt idx="2002">
                  <c:v>41450</c:v>
                </c:pt>
                <c:pt idx="2003">
                  <c:v>41451</c:v>
                </c:pt>
                <c:pt idx="2004">
                  <c:v>41452</c:v>
                </c:pt>
                <c:pt idx="2005">
                  <c:v>41453</c:v>
                </c:pt>
                <c:pt idx="2006">
                  <c:v>41454</c:v>
                </c:pt>
                <c:pt idx="2007">
                  <c:v>41455</c:v>
                </c:pt>
                <c:pt idx="2008">
                  <c:v>41456</c:v>
                </c:pt>
                <c:pt idx="2009">
                  <c:v>41457</c:v>
                </c:pt>
                <c:pt idx="2010">
                  <c:v>41458</c:v>
                </c:pt>
                <c:pt idx="2011">
                  <c:v>41459</c:v>
                </c:pt>
                <c:pt idx="2012">
                  <c:v>41460</c:v>
                </c:pt>
                <c:pt idx="2013">
                  <c:v>41461</c:v>
                </c:pt>
                <c:pt idx="2014">
                  <c:v>41462</c:v>
                </c:pt>
                <c:pt idx="2015">
                  <c:v>41463</c:v>
                </c:pt>
                <c:pt idx="2016">
                  <c:v>41464</c:v>
                </c:pt>
                <c:pt idx="2017">
                  <c:v>41465</c:v>
                </c:pt>
                <c:pt idx="2018">
                  <c:v>41466</c:v>
                </c:pt>
                <c:pt idx="2019">
                  <c:v>41467</c:v>
                </c:pt>
                <c:pt idx="2020">
                  <c:v>41468</c:v>
                </c:pt>
                <c:pt idx="2021">
                  <c:v>41469</c:v>
                </c:pt>
                <c:pt idx="2022">
                  <c:v>41470</c:v>
                </c:pt>
                <c:pt idx="2023">
                  <c:v>41471</c:v>
                </c:pt>
                <c:pt idx="2024">
                  <c:v>41472</c:v>
                </c:pt>
                <c:pt idx="2025">
                  <c:v>41473</c:v>
                </c:pt>
                <c:pt idx="2026">
                  <c:v>41474</c:v>
                </c:pt>
                <c:pt idx="2027">
                  <c:v>41475</c:v>
                </c:pt>
                <c:pt idx="2028">
                  <c:v>41476</c:v>
                </c:pt>
                <c:pt idx="2029">
                  <c:v>41477</c:v>
                </c:pt>
                <c:pt idx="2030">
                  <c:v>41478</c:v>
                </c:pt>
                <c:pt idx="2031">
                  <c:v>41479</c:v>
                </c:pt>
                <c:pt idx="2032">
                  <c:v>41480</c:v>
                </c:pt>
                <c:pt idx="2033">
                  <c:v>41481</c:v>
                </c:pt>
                <c:pt idx="2034">
                  <c:v>41482</c:v>
                </c:pt>
                <c:pt idx="2035">
                  <c:v>41483</c:v>
                </c:pt>
                <c:pt idx="2036">
                  <c:v>41484</c:v>
                </c:pt>
                <c:pt idx="2037">
                  <c:v>41485</c:v>
                </c:pt>
                <c:pt idx="2038">
                  <c:v>41486</c:v>
                </c:pt>
                <c:pt idx="2039">
                  <c:v>41487</c:v>
                </c:pt>
                <c:pt idx="2040">
                  <c:v>41488</c:v>
                </c:pt>
                <c:pt idx="2041">
                  <c:v>41489</c:v>
                </c:pt>
                <c:pt idx="2042">
                  <c:v>41490</c:v>
                </c:pt>
                <c:pt idx="2043">
                  <c:v>41491</c:v>
                </c:pt>
                <c:pt idx="2044">
                  <c:v>41492</c:v>
                </c:pt>
                <c:pt idx="2045">
                  <c:v>41493</c:v>
                </c:pt>
                <c:pt idx="2046">
                  <c:v>41494</c:v>
                </c:pt>
                <c:pt idx="2047">
                  <c:v>41495</c:v>
                </c:pt>
                <c:pt idx="2048">
                  <c:v>41496</c:v>
                </c:pt>
                <c:pt idx="2049">
                  <c:v>41497</c:v>
                </c:pt>
                <c:pt idx="2050">
                  <c:v>41498</c:v>
                </c:pt>
                <c:pt idx="2051">
                  <c:v>41499</c:v>
                </c:pt>
                <c:pt idx="2052">
                  <c:v>41500</c:v>
                </c:pt>
                <c:pt idx="2053">
                  <c:v>41501</c:v>
                </c:pt>
                <c:pt idx="2054">
                  <c:v>41502</c:v>
                </c:pt>
                <c:pt idx="2055">
                  <c:v>41503</c:v>
                </c:pt>
                <c:pt idx="2056">
                  <c:v>41504</c:v>
                </c:pt>
                <c:pt idx="2057">
                  <c:v>41505</c:v>
                </c:pt>
                <c:pt idx="2058">
                  <c:v>41506</c:v>
                </c:pt>
                <c:pt idx="2059">
                  <c:v>41507</c:v>
                </c:pt>
                <c:pt idx="2060">
                  <c:v>41508</c:v>
                </c:pt>
                <c:pt idx="2061">
                  <c:v>41509</c:v>
                </c:pt>
                <c:pt idx="2062">
                  <c:v>41510</c:v>
                </c:pt>
                <c:pt idx="2063">
                  <c:v>41511</c:v>
                </c:pt>
                <c:pt idx="2064">
                  <c:v>41512</c:v>
                </c:pt>
                <c:pt idx="2065">
                  <c:v>41513</c:v>
                </c:pt>
                <c:pt idx="2066">
                  <c:v>41514</c:v>
                </c:pt>
                <c:pt idx="2067">
                  <c:v>41515</c:v>
                </c:pt>
                <c:pt idx="2068">
                  <c:v>41516</c:v>
                </c:pt>
                <c:pt idx="2069">
                  <c:v>41517</c:v>
                </c:pt>
                <c:pt idx="2070">
                  <c:v>41518</c:v>
                </c:pt>
                <c:pt idx="2071">
                  <c:v>41519</c:v>
                </c:pt>
                <c:pt idx="2072">
                  <c:v>41520</c:v>
                </c:pt>
                <c:pt idx="2073">
                  <c:v>41521</c:v>
                </c:pt>
                <c:pt idx="2074">
                  <c:v>41522</c:v>
                </c:pt>
                <c:pt idx="2075">
                  <c:v>41523</c:v>
                </c:pt>
                <c:pt idx="2076">
                  <c:v>41524</c:v>
                </c:pt>
                <c:pt idx="2077">
                  <c:v>41525</c:v>
                </c:pt>
                <c:pt idx="2078">
                  <c:v>41526</c:v>
                </c:pt>
                <c:pt idx="2079">
                  <c:v>41527</c:v>
                </c:pt>
                <c:pt idx="2080">
                  <c:v>41528</c:v>
                </c:pt>
                <c:pt idx="2081">
                  <c:v>41529</c:v>
                </c:pt>
                <c:pt idx="2082">
                  <c:v>41530</c:v>
                </c:pt>
                <c:pt idx="2083">
                  <c:v>41531</c:v>
                </c:pt>
                <c:pt idx="2084">
                  <c:v>41532</c:v>
                </c:pt>
                <c:pt idx="2085">
                  <c:v>41533</c:v>
                </c:pt>
                <c:pt idx="2086">
                  <c:v>41534</c:v>
                </c:pt>
                <c:pt idx="2087">
                  <c:v>41535</c:v>
                </c:pt>
                <c:pt idx="2088">
                  <c:v>41536</c:v>
                </c:pt>
                <c:pt idx="2089">
                  <c:v>41537</c:v>
                </c:pt>
                <c:pt idx="2090">
                  <c:v>41538</c:v>
                </c:pt>
                <c:pt idx="2091">
                  <c:v>41539</c:v>
                </c:pt>
                <c:pt idx="2092">
                  <c:v>41540</c:v>
                </c:pt>
                <c:pt idx="2093">
                  <c:v>41541</c:v>
                </c:pt>
                <c:pt idx="2094">
                  <c:v>41542</c:v>
                </c:pt>
                <c:pt idx="2095">
                  <c:v>41543</c:v>
                </c:pt>
                <c:pt idx="2096">
                  <c:v>41544</c:v>
                </c:pt>
                <c:pt idx="2097">
                  <c:v>41545</c:v>
                </c:pt>
                <c:pt idx="2098">
                  <c:v>41546</c:v>
                </c:pt>
                <c:pt idx="2099">
                  <c:v>41547</c:v>
                </c:pt>
                <c:pt idx="2100">
                  <c:v>41548</c:v>
                </c:pt>
                <c:pt idx="2101">
                  <c:v>41549</c:v>
                </c:pt>
                <c:pt idx="2102">
                  <c:v>41550</c:v>
                </c:pt>
                <c:pt idx="2103">
                  <c:v>41551</c:v>
                </c:pt>
                <c:pt idx="2104">
                  <c:v>41552</c:v>
                </c:pt>
                <c:pt idx="2105">
                  <c:v>41553</c:v>
                </c:pt>
                <c:pt idx="2106">
                  <c:v>41554</c:v>
                </c:pt>
                <c:pt idx="2107">
                  <c:v>41555</c:v>
                </c:pt>
                <c:pt idx="2108">
                  <c:v>41556</c:v>
                </c:pt>
                <c:pt idx="2109">
                  <c:v>41557</c:v>
                </c:pt>
                <c:pt idx="2110">
                  <c:v>41558</c:v>
                </c:pt>
                <c:pt idx="2111">
                  <c:v>41559</c:v>
                </c:pt>
                <c:pt idx="2112">
                  <c:v>41560</c:v>
                </c:pt>
                <c:pt idx="2113">
                  <c:v>41561</c:v>
                </c:pt>
                <c:pt idx="2114">
                  <c:v>41562</c:v>
                </c:pt>
                <c:pt idx="2115">
                  <c:v>41563</c:v>
                </c:pt>
                <c:pt idx="2116">
                  <c:v>41564</c:v>
                </c:pt>
                <c:pt idx="2117">
                  <c:v>41565</c:v>
                </c:pt>
                <c:pt idx="2118">
                  <c:v>41566</c:v>
                </c:pt>
                <c:pt idx="2119">
                  <c:v>41567</c:v>
                </c:pt>
                <c:pt idx="2120">
                  <c:v>41568</c:v>
                </c:pt>
                <c:pt idx="2121">
                  <c:v>41569</c:v>
                </c:pt>
                <c:pt idx="2122">
                  <c:v>41570</c:v>
                </c:pt>
                <c:pt idx="2123">
                  <c:v>41571</c:v>
                </c:pt>
                <c:pt idx="2124">
                  <c:v>41572</c:v>
                </c:pt>
                <c:pt idx="2125">
                  <c:v>41573</c:v>
                </c:pt>
                <c:pt idx="2126">
                  <c:v>41574</c:v>
                </c:pt>
                <c:pt idx="2127">
                  <c:v>41575</c:v>
                </c:pt>
                <c:pt idx="2128">
                  <c:v>41576</c:v>
                </c:pt>
                <c:pt idx="2129">
                  <c:v>41577</c:v>
                </c:pt>
                <c:pt idx="2130">
                  <c:v>41578</c:v>
                </c:pt>
                <c:pt idx="2131">
                  <c:v>41579</c:v>
                </c:pt>
                <c:pt idx="2132">
                  <c:v>41580</c:v>
                </c:pt>
                <c:pt idx="2133">
                  <c:v>41581</c:v>
                </c:pt>
                <c:pt idx="2134">
                  <c:v>41582</c:v>
                </c:pt>
                <c:pt idx="2135">
                  <c:v>41583</c:v>
                </c:pt>
                <c:pt idx="2136">
                  <c:v>41584</c:v>
                </c:pt>
                <c:pt idx="2137">
                  <c:v>41585</c:v>
                </c:pt>
                <c:pt idx="2138">
                  <c:v>41586</c:v>
                </c:pt>
                <c:pt idx="2139">
                  <c:v>41587</c:v>
                </c:pt>
                <c:pt idx="2140">
                  <c:v>41588</c:v>
                </c:pt>
                <c:pt idx="2141">
                  <c:v>41589</c:v>
                </c:pt>
                <c:pt idx="2142">
                  <c:v>41590</c:v>
                </c:pt>
                <c:pt idx="2143">
                  <c:v>41591</c:v>
                </c:pt>
                <c:pt idx="2144">
                  <c:v>41592</c:v>
                </c:pt>
                <c:pt idx="2145">
                  <c:v>41593</c:v>
                </c:pt>
                <c:pt idx="2146">
                  <c:v>41594</c:v>
                </c:pt>
                <c:pt idx="2147">
                  <c:v>41595</c:v>
                </c:pt>
                <c:pt idx="2148">
                  <c:v>41596</c:v>
                </c:pt>
                <c:pt idx="2149">
                  <c:v>41597</c:v>
                </c:pt>
                <c:pt idx="2150">
                  <c:v>41598</c:v>
                </c:pt>
                <c:pt idx="2151">
                  <c:v>41599</c:v>
                </c:pt>
                <c:pt idx="2152">
                  <c:v>41600</c:v>
                </c:pt>
                <c:pt idx="2153">
                  <c:v>41601</c:v>
                </c:pt>
                <c:pt idx="2154">
                  <c:v>41602</c:v>
                </c:pt>
                <c:pt idx="2155">
                  <c:v>41603</c:v>
                </c:pt>
                <c:pt idx="2156">
                  <c:v>41604</c:v>
                </c:pt>
                <c:pt idx="2157">
                  <c:v>41605</c:v>
                </c:pt>
                <c:pt idx="2158">
                  <c:v>41606</c:v>
                </c:pt>
                <c:pt idx="2159">
                  <c:v>41607</c:v>
                </c:pt>
                <c:pt idx="2160">
                  <c:v>41608</c:v>
                </c:pt>
                <c:pt idx="2161">
                  <c:v>41609</c:v>
                </c:pt>
                <c:pt idx="2162">
                  <c:v>41610</c:v>
                </c:pt>
                <c:pt idx="2163">
                  <c:v>41611</c:v>
                </c:pt>
                <c:pt idx="2164">
                  <c:v>41612</c:v>
                </c:pt>
                <c:pt idx="2165">
                  <c:v>41613</c:v>
                </c:pt>
                <c:pt idx="2166">
                  <c:v>41614</c:v>
                </c:pt>
                <c:pt idx="2167">
                  <c:v>41615</c:v>
                </c:pt>
                <c:pt idx="2168">
                  <c:v>41616</c:v>
                </c:pt>
                <c:pt idx="2169">
                  <c:v>41617</c:v>
                </c:pt>
                <c:pt idx="2170">
                  <c:v>41618</c:v>
                </c:pt>
                <c:pt idx="2171">
                  <c:v>41619</c:v>
                </c:pt>
                <c:pt idx="2172">
                  <c:v>41620</c:v>
                </c:pt>
                <c:pt idx="2173">
                  <c:v>41621</c:v>
                </c:pt>
                <c:pt idx="2174">
                  <c:v>41622</c:v>
                </c:pt>
                <c:pt idx="2175">
                  <c:v>41623</c:v>
                </c:pt>
                <c:pt idx="2176">
                  <c:v>41624</c:v>
                </c:pt>
                <c:pt idx="2177">
                  <c:v>41625</c:v>
                </c:pt>
                <c:pt idx="2178">
                  <c:v>41626</c:v>
                </c:pt>
                <c:pt idx="2179">
                  <c:v>41627</c:v>
                </c:pt>
                <c:pt idx="2180">
                  <c:v>41628</c:v>
                </c:pt>
                <c:pt idx="2181">
                  <c:v>41629</c:v>
                </c:pt>
                <c:pt idx="2182">
                  <c:v>41630</c:v>
                </c:pt>
                <c:pt idx="2183">
                  <c:v>41631</c:v>
                </c:pt>
                <c:pt idx="2184">
                  <c:v>41632</c:v>
                </c:pt>
                <c:pt idx="2185">
                  <c:v>41633</c:v>
                </c:pt>
                <c:pt idx="2186">
                  <c:v>41634</c:v>
                </c:pt>
                <c:pt idx="2187">
                  <c:v>41635</c:v>
                </c:pt>
                <c:pt idx="2188">
                  <c:v>41636</c:v>
                </c:pt>
                <c:pt idx="2189">
                  <c:v>41637</c:v>
                </c:pt>
                <c:pt idx="2190">
                  <c:v>41638</c:v>
                </c:pt>
                <c:pt idx="2191">
                  <c:v>41639</c:v>
                </c:pt>
                <c:pt idx="2192">
                  <c:v>41640</c:v>
                </c:pt>
                <c:pt idx="2193">
                  <c:v>41641</c:v>
                </c:pt>
                <c:pt idx="2194">
                  <c:v>41642</c:v>
                </c:pt>
                <c:pt idx="2195">
                  <c:v>41643</c:v>
                </c:pt>
                <c:pt idx="2196">
                  <c:v>41644</c:v>
                </c:pt>
                <c:pt idx="2197">
                  <c:v>41645</c:v>
                </c:pt>
                <c:pt idx="2198">
                  <c:v>41646</c:v>
                </c:pt>
                <c:pt idx="2199">
                  <c:v>41647</c:v>
                </c:pt>
                <c:pt idx="2200">
                  <c:v>41648</c:v>
                </c:pt>
                <c:pt idx="2201">
                  <c:v>41649</c:v>
                </c:pt>
                <c:pt idx="2202">
                  <c:v>41650</c:v>
                </c:pt>
                <c:pt idx="2203">
                  <c:v>41651</c:v>
                </c:pt>
                <c:pt idx="2204">
                  <c:v>41652</c:v>
                </c:pt>
                <c:pt idx="2205">
                  <c:v>41653</c:v>
                </c:pt>
                <c:pt idx="2206">
                  <c:v>41654</c:v>
                </c:pt>
                <c:pt idx="2207">
                  <c:v>41655</c:v>
                </c:pt>
                <c:pt idx="2208">
                  <c:v>41656</c:v>
                </c:pt>
                <c:pt idx="2209">
                  <c:v>41657</c:v>
                </c:pt>
                <c:pt idx="2210">
                  <c:v>41658</c:v>
                </c:pt>
                <c:pt idx="2211">
                  <c:v>41659</c:v>
                </c:pt>
                <c:pt idx="2212">
                  <c:v>41660</c:v>
                </c:pt>
                <c:pt idx="2213">
                  <c:v>41661</c:v>
                </c:pt>
                <c:pt idx="2214">
                  <c:v>41662</c:v>
                </c:pt>
                <c:pt idx="2215">
                  <c:v>41663</c:v>
                </c:pt>
                <c:pt idx="2216">
                  <c:v>41664</c:v>
                </c:pt>
                <c:pt idx="2217">
                  <c:v>41665</c:v>
                </c:pt>
                <c:pt idx="2218">
                  <c:v>41666</c:v>
                </c:pt>
                <c:pt idx="2219">
                  <c:v>41667</c:v>
                </c:pt>
                <c:pt idx="2220">
                  <c:v>41668</c:v>
                </c:pt>
                <c:pt idx="2221">
                  <c:v>41669</c:v>
                </c:pt>
                <c:pt idx="2222">
                  <c:v>41670</c:v>
                </c:pt>
                <c:pt idx="2223">
                  <c:v>41671</c:v>
                </c:pt>
                <c:pt idx="2224">
                  <c:v>41672</c:v>
                </c:pt>
                <c:pt idx="2225">
                  <c:v>41673</c:v>
                </c:pt>
                <c:pt idx="2226">
                  <c:v>41674</c:v>
                </c:pt>
                <c:pt idx="2227">
                  <c:v>41675</c:v>
                </c:pt>
                <c:pt idx="2228">
                  <c:v>41676</c:v>
                </c:pt>
                <c:pt idx="2229">
                  <c:v>41677</c:v>
                </c:pt>
                <c:pt idx="2230">
                  <c:v>41678</c:v>
                </c:pt>
                <c:pt idx="2231">
                  <c:v>41679</c:v>
                </c:pt>
                <c:pt idx="2232">
                  <c:v>41680</c:v>
                </c:pt>
                <c:pt idx="2233">
                  <c:v>41681</c:v>
                </c:pt>
                <c:pt idx="2234">
                  <c:v>41682</c:v>
                </c:pt>
                <c:pt idx="2235">
                  <c:v>41683</c:v>
                </c:pt>
                <c:pt idx="2236">
                  <c:v>41684</c:v>
                </c:pt>
                <c:pt idx="2237">
                  <c:v>41685</c:v>
                </c:pt>
                <c:pt idx="2238">
                  <c:v>41686</c:v>
                </c:pt>
                <c:pt idx="2239">
                  <c:v>41687</c:v>
                </c:pt>
                <c:pt idx="2240">
                  <c:v>41688</c:v>
                </c:pt>
                <c:pt idx="2241">
                  <c:v>41689</c:v>
                </c:pt>
                <c:pt idx="2242">
                  <c:v>41690</c:v>
                </c:pt>
                <c:pt idx="2243">
                  <c:v>41691</c:v>
                </c:pt>
                <c:pt idx="2244">
                  <c:v>41692</c:v>
                </c:pt>
                <c:pt idx="2245">
                  <c:v>41693</c:v>
                </c:pt>
                <c:pt idx="2246">
                  <c:v>41694</c:v>
                </c:pt>
                <c:pt idx="2247">
                  <c:v>41695</c:v>
                </c:pt>
                <c:pt idx="2248">
                  <c:v>41696</c:v>
                </c:pt>
                <c:pt idx="2249">
                  <c:v>41697</c:v>
                </c:pt>
                <c:pt idx="2250">
                  <c:v>41698</c:v>
                </c:pt>
                <c:pt idx="2251">
                  <c:v>41699</c:v>
                </c:pt>
                <c:pt idx="2252">
                  <c:v>41700</c:v>
                </c:pt>
                <c:pt idx="2253">
                  <c:v>41701</c:v>
                </c:pt>
                <c:pt idx="2254">
                  <c:v>41702</c:v>
                </c:pt>
                <c:pt idx="2255">
                  <c:v>41703</c:v>
                </c:pt>
                <c:pt idx="2256">
                  <c:v>41704</c:v>
                </c:pt>
                <c:pt idx="2257">
                  <c:v>41705</c:v>
                </c:pt>
                <c:pt idx="2258">
                  <c:v>41706</c:v>
                </c:pt>
                <c:pt idx="2259">
                  <c:v>41707</c:v>
                </c:pt>
                <c:pt idx="2260">
                  <c:v>41708</c:v>
                </c:pt>
                <c:pt idx="2261">
                  <c:v>41709</c:v>
                </c:pt>
                <c:pt idx="2262">
                  <c:v>41710</c:v>
                </c:pt>
                <c:pt idx="2263">
                  <c:v>41711</c:v>
                </c:pt>
                <c:pt idx="2264">
                  <c:v>41712</c:v>
                </c:pt>
                <c:pt idx="2265">
                  <c:v>41713</c:v>
                </c:pt>
                <c:pt idx="2266">
                  <c:v>41714</c:v>
                </c:pt>
                <c:pt idx="2267">
                  <c:v>41715</c:v>
                </c:pt>
                <c:pt idx="2268">
                  <c:v>41716</c:v>
                </c:pt>
                <c:pt idx="2269">
                  <c:v>41717</c:v>
                </c:pt>
                <c:pt idx="2270">
                  <c:v>41718</c:v>
                </c:pt>
                <c:pt idx="2271">
                  <c:v>41719</c:v>
                </c:pt>
                <c:pt idx="2272">
                  <c:v>41720</c:v>
                </c:pt>
                <c:pt idx="2273">
                  <c:v>41721</c:v>
                </c:pt>
                <c:pt idx="2274">
                  <c:v>41722</c:v>
                </c:pt>
                <c:pt idx="2275">
                  <c:v>41723</c:v>
                </c:pt>
                <c:pt idx="2276">
                  <c:v>41724</c:v>
                </c:pt>
                <c:pt idx="2277">
                  <c:v>41725</c:v>
                </c:pt>
                <c:pt idx="2278">
                  <c:v>41726</c:v>
                </c:pt>
                <c:pt idx="2279">
                  <c:v>41727</c:v>
                </c:pt>
                <c:pt idx="2280">
                  <c:v>41728</c:v>
                </c:pt>
                <c:pt idx="2281">
                  <c:v>41729</c:v>
                </c:pt>
                <c:pt idx="2282">
                  <c:v>41730</c:v>
                </c:pt>
                <c:pt idx="2283">
                  <c:v>41731</c:v>
                </c:pt>
                <c:pt idx="2284">
                  <c:v>41732</c:v>
                </c:pt>
                <c:pt idx="2285">
                  <c:v>41733</c:v>
                </c:pt>
                <c:pt idx="2286">
                  <c:v>41734</c:v>
                </c:pt>
                <c:pt idx="2287">
                  <c:v>41735</c:v>
                </c:pt>
                <c:pt idx="2288">
                  <c:v>41736</c:v>
                </c:pt>
                <c:pt idx="2289">
                  <c:v>41737</c:v>
                </c:pt>
                <c:pt idx="2290">
                  <c:v>41738</c:v>
                </c:pt>
                <c:pt idx="2291">
                  <c:v>41739</c:v>
                </c:pt>
                <c:pt idx="2292">
                  <c:v>41740</c:v>
                </c:pt>
                <c:pt idx="2293">
                  <c:v>41741</c:v>
                </c:pt>
                <c:pt idx="2294">
                  <c:v>41742</c:v>
                </c:pt>
                <c:pt idx="2295">
                  <c:v>41743</c:v>
                </c:pt>
                <c:pt idx="2296">
                  <c:v>41744</c:v>
                </c:pt>
                <c:pt idx="2297">
                  <c:v>41745</c:v>
                </c:pt>
                <c:pt idx="2298">
                  <c:v>41746</c:v>
                </c:pt>
                <c:pt idx="2299">
                  <c:v>41747</c:v>
                </c:pt>
                <c:pt idx="2300">
                  <c:v>41748</c:v>
                </c:pt>
                <c:pt idx="2301">
                  <c:v>41749</c:v>
                </c:pt>
                <c:pt idx="2302">
                  <c:v>41750</c:v>
                </c:pt>
                <c:pt idx="2303">
                  <c:v>41751</c:v>
                </c:pt>
                <c:pt idx="2304">
                  <c:v>41752</c:v>
                </c:pt>
                <c:pt idx="2305">
                  <c:v>41753</c:v>
                </c:pt>
                <c:pt idx="2306">
                  <c:v>41754</c:v>
                </c:pt>
                <c:pt idx="2307">
                  <c:v>41755</c:v>
                </c:pt>
                <c:pt idx="2308">
                  <c:v>41756</c:v>
                </c:pt>
                <c:pt idx="2309">
                  <c:v>41757</c:v>
                </c:pt>
                <c:pt idx="2310">
                  <c:v>41758</c:v>
                </c:pt>
                <c:pt idx="2311">
                  <c:v>41759</c:v>
                </c:pt>
                <c:pt idx="2312">
                  <c:v>41760</c:v>
                </c:pt>
                <c:pt idx="2313">
                  <c:v>41761</c:v>
                </c:pt>
                <c:pt idx="2314">
                  <c:v>41762</c:v>
                </c:pt>
                <c:pt idx="2315">
                  <c:v>41763</c:v>
                </c:pt>
                <c:pt idx="2316">
                  <c:v>41764</c:v>
                </c:pt>
                <c:pt idx="2317">
                  <c:v>41765</c:v>
                </c:pt>
                <c:pt idx="2318">
                  <c:v>41766</c:v>
                </c:pt>
                <c:pt idx="2319">
                  <c:v>41767</c:v>
                </c:pt>
                <c:pt idx="2320">
                  <c:v>41768</c:v>
                </c:pt>
                <c:pt idx="2321">
                  <c:v>41769</c:v>
                </c:pt>
                <c:pt idx="2322">
                  <c:v>41770</c:v>
                </c:pt>
                <c:pt idx="2323">
                  <c:v>41771</c:v>
                </c:pt>
                <c:pt idx="2324">
                  <c:v>41772</c:v>
                </c:pt>
                <c:pt idx="2325">
                  <c:v>41773</c:v>
                </c:pt>
                <c:pt idx="2326">
                  <c:v>41774</c:v>
                </c:pt>
                <c:pt idx="2327">
                  <c:v>41775</c:v>
                </c:pt>
                <c:pt idx="2328">
                  <c:v>41776</c:v>
                </c:pt>
                <c:pt idx="2329">
                  <c:v>41777</c:v>
                </c:pt>
                <c:pt idx="2330">
                  <c:v>41778</c:v>
                </c:pt>
                <c:pt idx="2331">
                  <c:v>41779</c:v>
                </c:pt>
                <c:pt idx="2332">
                  <c:v>41780</c:v>
                </c:pt>
                <c:pt idx="2333">
                  <c:v>41781</c:v>
                </c:pt>
                <c:pt idx="2334">
                  <c:v>41782</c:v>
                </c:pt>
                <c:pt idx="2335">
                  <c:v>41783</c:v>
                </c:pt>
                <c:pt idx="2336">
                  <c:v>41784</c:v>
                </c:pt>
                <c:pt idx="2337">
                  <c:v>41785</c:v>
                </c:pt>
                <c:pt idx="2338">
                  <c:v>41786</c:v>
                </c:pt>
                <c:pt idx="2339">
                  <c:v>41787</c:v>
                </c:pt>
                <c:pt idx="2340">
                  <c:v>41788</c:v>
                </c:pt>
                <c:pt idx="2341">
                  <c:v>41789</c:v>
                </c:pt>
                <c:pt idx="2342">
                  <c:v>41790</c:v>
                </c:pt>
                <c:pt idx="2343">
                  <c:v>41791</c:v>
                </c:pt>
                <c:pt idx="2344">
                  <c:v>41792</c:v>
                </c:pt>
                <c:pt idx="2345">
                  <c:v>41793</c:v>
                </c:pt>
                <c:pt idx="2346">
                  <c:v>41794</c:v>
                </c:pt>
                <c:pt idx="2347">
                  <c:v>41795</c:v>
                </c:pt>
                <c:pt idx="2348">
                  <c:v>41796</c:v>
                </c:pt>
                <c:pt idx="2349">
                  <c:v>41797</c:v>
                </c:pt>
                <c:pt idx="2350">
                  <c:v>41798</c:v>
                </c:pt>
                <c:pt idx="2351">
                  <c:v>41799</c:v>
                </c:pt>
                <c:pt idx="2352">
                  <c:v>41800</c:v>
                </c:pt>
                <c:pt idx="2353">
                  <c:v>41801</c:v>
                </c:pt>
                <c:pt idx="2354">
                  <c:v>41802</c:v>
                </c:pt>
                <c:pt idx="2355">
                  <c:v>41803</c:v>
                </c:pt>
                <c:pt idx="2356">
                  <c:v>41804</c:v>
                </c:pt>
                <c:pt idx="2357">
                  <c:v>41805</c:v>
                </c:pt>
                <c:pt idx="2358">
                  <c:v>41806</c:v>
                </c:pt>
                <c:pt idx="2359">
                  <c:v>41807</c:v>
                </c:pt>
                <c:pt idx="2360">
                  <c:v>41808</c:v>
                </c:pt>
                <c:pt idx="2361">
                  <c:v>41809</c:v>
                </c:pt>
                <c:pt idx="2362">
                  <c:v>41810</c:v>
                </c:pt>
                <c:pt idx="2363">
                  <c:v>41811</c:v>
                </c:pt>
                <c:pt idx="2364">
                  <c:v>41812</c:v>
                </c:pt>
                <c:pt idx="2365">
                  <c:v>41813</c:v>
                </c:pt>
                <c:pt idx="2366">
                  <c:v>41814</c:v>
                </c:pt>
                <c:pt idx="2367">
                  <c:v>41815</c:v>
                </c:pt>
                <c:pt idx="2368">
                  <c:v>41816</c:v>
                </c:pt>
                <c:pt idx="2369">
                  <c:v>41817</c:v>
                </c:pt>
                <c:pt idx="2370">
                  <c:v>41818</c:v>
                </c:pt>
                <c:pt idx="2371">
                  <c:v>41819</c:v>
                </c:pt>
                <c:pt idx="2372">
                  <c:v>41820</c:v>
                </c:pt>
                <c:pt idx="2373">
                  <c:v>41821</c:v>
                </c:pt>
                <c:pt idx="2374">
                  <c:v>41822</c:v>
                </c:pt>
                <c:pt idx="2375">
                  <c:v>41823</c:v>
                </c:pt>
                <c:pt idx="2376">
                  <c:v>41824</c:v>
                </c:pt>
                <c:pt idx="2377">
                  <c:v>41825</c:v>
                </c:pt>
                <c:pt idx="2378">
                  <c:v>41826</c:v>
                </c:pt>
                <c:pt idx="2379">
                  <c:v>41827</c:v>
                </c:pt>
                <c:pt idx="2380">
                  <c:v>41828</c:v>
                </c:pt>
                <c:pt idx="2381">
                  <c:v>41829</c:v>
                </c:pt>
                <c:pt idx="2382">
                  <c:v>41830</c:v>
                </c:pt>
                <c:pt idx="2383">
                  <c:v>41831</c:v>
                </c:pt>
                <c:pt idx="2384">
                  <c:v>41832</c:v>
                </c:pt>
                <c:pt idx="2385">
                  <c:v>41833</c:v>
                </c:pt>
                <c:pt idx="2386">
                  <c:v>41834</c:v>
                </c:pt>
                <c:pt idx="2387">
                  <c:v>41835</c:v>
                </c:pt>
                <c:pt idx="2388">
                  <c:v>41836</c:v>
                </c:pt>
                <c:pt idx="2389">
                  <c:v>41837</c:v>
                </c:pt>
                <c:pt idx="2390">
                  <c:v>41838</c:v>
                </c:pt>
                <c:pt idx="2391">
                  <c:v>41839</c:v>
                </c:pt>
                <c:pt idx="2392">
                  <c:v>41840</c:v>
                </c:pt>
                <c:pt idx="2393">
                  <c:v>41841</c:v>
                </c:pt>
                <c:pt idx="2394">
                  <c:v>41842</c:v>
                </c:pt>
                <c:pt idx="2395">
                  <c:v>41843</c:v>
                </c:pt>
                <c:pt idx="2396">
                  <c:v>41844</c:v>
                </c:pt>
                <c:pt idx="2397">
                  <c:v>41845</c:v>
                </c:pt>
                <c:pt idx="2398">
                  <c:v>41846</c:v>
                </c:pt>
                <c:pt idx="2399">
                  <c:v>41847</c:v>
                </c:pt>
                <c:pt idx="2400">
                  <c:v>41848</c:v>
                </c:pt>
                <c:pt idx="2401">
                  <c:v>41849</c:v>
                </c:pt>
                <c:pt idx="2402">
                  <c:v>41850</c:v>
                </c:pt>
                <c:pt idx="2403">
                  <c:v>41851</c:v>
                </c:pt>
                <c:pt idx="2404">
                  <c:v>41852</c:v>
                </c:pt>
                <c:pt idx="2405">
                  <c:v>41853</c:v>
                </c:pt>
                <c:pt idx="2406">
                  <c:v>41854</c:v>
                </c:pt>
                <c:pt idx="2407">
                  <c:v>41855</c:v>
                </c:pt>
                <c:pt idx="2408">
                  <c:v>41856</c:v>
                </c:pt>
                <c:pt idx="2409">
                  <c:v>41857</c:v>
                </c:pt>
                <c:pt idx="2410">
                  <c:v>41858</c:v>
                </c:pt>
                <c:pt idx="2411">
                  <c:v>41859</c:v>
                </c:pt>
                <c:pt idx="2412">
                  <c:v>41860</c:v>
                </c:pt>
                <c:pt idx="2413">
                  <c:v>41861</c:v>
                </c:pt>
                <c:pt idx="2414">
                  <c:v>41862</c:v>
                </c:pt>
                <c:pt idx="2415">
                  <c:v>41863</c:v>
                </c:pt>
                <c:pt idx="2416">
                  <c:v>41864</c:v>
                </c:pt>
                <c:pt idx="2417">
                  <c:v>41865</c:v>
                </c:pt>
                <c:pt idx="2418">
                  <c:v>41866</c:v>
                </c:pt>
                <c:pt idx="2419">
                  <c:v>41867</c:v>
                </c:pt>
                <c:pt idx="2420">
                  <c:v>41868</c:v>
                </c:pt>
                <c:pt idx="2421">
                  <c:v>41869</c:v>
                </c:pt>
                <c:pt idx="2422">
                  <c:v>41870</c:v>
                </c:pt>
                <c:pt idx="2423">
                  <c:v>41871</c:v>
                </c:pt>
                <c:pt idx="2424">
                  <c:v>41872</c:v>
                </c:pt>
                <c:pt idx="2425">
                  <c:v>41873</c:v>
                </c:pt>
                <c:pt idx="2426">
                  <c:v>41874</c:v>
                </c:pt>
                <c:pt idx="2427">
                  <c:v>41875</c:v>
                </c:pt>
                <c:pt idx="2428">
                  <c:v>41876</c:v>
                </c:pt>
                <c:pt idx="2429">
                  <c:v>41877</c:v>
                </c:pt>
                <c:pt idx="2430">
                  <c:v>41878</c:v>
                </c:pt>
                <c:pt idx="2431">
                  <c:v>41879</c:v>
                </c:pt>
                <c:pt idx="2432">
                  <c:v>41880</c:v>
                </c:pt>
                <c:pt idx="2433">
                  <c:v>41881</c:v>
                </c:pt>
                <c:pt idx="2434">
                  <c:v>41882</c:v>
                </c:pt>
                <c:pt idx="2435">
                  <c:v>41883</c:v>
                </c:pt>
                <c:pt idx="2436">
                  <c:v>41884</c:v>
                </c:pt>
                <c:pt idx="2437">
                  <c:v>41885</c:v>
                </c:pt>
                <c:pt idx="2438">
                  <c:v>41886</c:v>
                </c:pt>
                <c:pt idx="2439">
                  <c:v>41887</c:v>
                </c:pt>
                <c:pt idx="2440">
                  <c:v>41888</c:v>
                </c:pt>
                <c:pt idx="2441">
                  <c:v>41889</c:v>
                </c:pt>
                <c:pt idx="2442">
                  <c:v>41890</c:v>
                </c:pt>
                <c:pt idx="2443">
                  <c:v>41891</c:v>
                </c:pt>
                <c:pt idx="2444">
                  <c:v>41892</c:v>
                </c:pt>
                <c:pt idx="2445">
                  <c:v>41893</c:v>
                </c:pt>
                <c:pt idx="2446">
                  <c:v>41894</c:v>
                </c:pt>
                <c:pt idx="2447">
                  <c:v>41895</c:v>
                </c:pt>
                <c:pt idx="2448">
                  <c:v>41896</c:v>
                </c:pt>
                <c:pt idx="2449">
                  <c:v>41897</c:v>
                </c:pt>
                <c:pt idx="2450">
                  <c:v>41898</c:v>
                </c:pt>
                <c:pt idx="2451">
                  <c:v>41899</c:v>
                </c:pt>
                <c:pt idx="2452">
                  <c:v>41900</c:v>
                </c:pt>
                <c:pt idx="2453">
                  <c:v>41901</c:v>
                </c:pt>
                <c:pt idx="2454">
                  <c:v>41902</c:v>
                </c:pt>
                <c:pt idx="2455">
                  <c:v>41903</c:v>
                </c:pt>
                <c:pt idx="2456">
                  <c:v>41904</c:v>
                </c:pt>
                <c:pt idx="2457">
                  <c:v>41905</c:v>
                </c:pt>
                <c:pt idx="2458">
                  <c:v>41906</c:v>
                </c:pt>
                <c:pt idx="2459">
                  <c:v>41907</c:v>
                </c:pt>
                <c:pt idx="2460">
                  <c:v>41908</c:v>
                </c:pt>
                <c:pt idx="2461">
                  <c:v>41909</c:v>
                </c:pt>
                <c:pt idx="2462">
                  <c:v>41910</c:v>
                </c:pt>
                <c:pt idx="2463">
                  <c:v>41911</c:v>
                </c:pt>
                <c:pt idx="2464">
                  <c:v>41912</c:v>
                </c:pt>
                <c:pt idx="2465">
                  <c:v>41913</c:v>
                </c:pt>
                <c:pt idx="2466">
                  <c:v>41914</c:v>
                </c:pt>
                <c:pt idx="2467">
                  <c:v>41915</c:v>
                </c:pt>
                <c:pt idx="2468">
                  <c:v>41916</c:v>
                </c:pt>
                <c:pt idx="2469">
                  <c:v>41917</c:v>
                </c:pt>
                <c:pt idx="2470">
                  <c:v>41918</c:v>
                </c:pt>
                <c:pt idx="2471">
                  <c:v>41919</c:v>
                </c:pt>
                <c:pt idx="2472">
                  <c:v>41920</c:v>
                </c:pt>
                <c:pt idx="2473">
                  <c:v>41921</c:v>
                </c:pt>
                <c:pt idx="2474">
                  <c:v>41922</c:v>
                </c:pt>
                <c:pt idx="2475">
                  <c:v>41923</c:v>
                </c:pt>
                <c:pt idx="2476">
                  <c:v>41924</c:v>
                </c:pt>
                <c:pt idx="2477">
                  <c:v>41925</c:v>
                </c:pt>
                <c:pt idx="2478">
                  <c:v>41926</c:v>
                </c:pt>
                <c:pt idx="2479">
                  <c:v>41927</c:v>
                </c:pt>
                <c:pt idx="2480">
                  <c:v>41928</c:v>
                </c:pt>
                <c:pt idx="2481">
                  <c:v>41929</c:v>
                </c:pt>
                <c:pt idx="2482">
                  <c:v>41930</c:v>
                </c:pt>
                <c:pt idx="2483">
                  <c:v>41931</c:v>
                </c:pt>
                <c:pt idx="2484">
                  <c:v>41932</c:v>
                </c:pt>
                <c:pt idx="2485">
                  <c:v>41933</c:v>
                </c:pt>
                <c:pt idx="2486">
                  <c:v>41934</c:v>
                </c:pt>
                <c:pt idx="2487">
                  <c:v>41935</c:v>
                </c:pt>
                <c:pt idx="2488">
                  <c:v>41936</c:v>
                </c:pt>
                <c:pt idx="2489">
                  <c:v>41937</c:v>
                </c:pt>
                <c:pt idx="2490">
                  <c:v>41938</c:v>
                </c:pt>
                <c:pt idx="2491">
                  <c:v>41939</c:v>
                </c:pt>
                <c:pt idx="2492">
                  <c:v>41940</c:v>
                </c:pt>
                <c:pt idx="2493">
                  <c:v>41941</c:v>
                </c:pt>
                <c:pt idx="2494">
                  <c:v>41942</c:v>
                </c:pt>
                <c:pt idx="2495">
                  <c:v>41943</c:v>
                </c:pt>
                <c:pt idx="2496">
                  <c:v>41944</c:v>
                </c:pt>
                <c:pt idx="2497">
                  <c:v>41945</c:v>
                </c:pt>
                <c:pt idx="2498">
                  <c:v>41946</c:v>
                </c:pt>
                <c:pt idx="2499">
                  <c:v>41947</c:v>
                </c:pt>
                <c:pt idx="2500">
                  <c:v>41948</c:v>
                </c:pt>
                <c:pt idx="2501">
                  <c:v>41949</c:v>
                </c:pt>
                <c:pt idx="2502">
                  <c:v>41950</c:v>
                </c:pt>
                <c:pt idx="2503">
                  <c:v>41951</c:v>
                </c:pt>
                <c:pt idx="2504">
                  <c:v>41952</c:v>
                </c:pt>
                <c:pt idx="2505">
                  <c:v>41953</c:v>
                </c:pt>
                <c:pt idx="2506">
                  <c:v>41954</c:v>
                </c:pt>
                <c:pt idx="2507">
                  <c:v>41955</c:v>
                </c:pt>
                <c:pt idx="2508">
                  <c:v>41956</c:v>
                </c:pt>
                <c:pt idx="2509">
                  <c:v>41957</c:v>
                </c:pt>
                <c:pt idx="2510">
                  <c:v>41958</c:v>
                </c:pt>
                <c:pt idx="2511">
                  <c:v>41959</c:v>
                </c:pt>
                <c:pt idx="2512">
                  <c:v>41960</c:v>
                </c:pt>
                <c:pt idx="2513">
                  <c:v>41961</c:v>
                </c:pt>
                <c:pt idx="2514">
                  <c:v>41962</c:v>
                </c:pt>
                <c:pt idx="2515">
                  <c:v>41963</c:v>
                </c:pt>
                <c:pt idx="2516">
                  <c:v>41964</c:v>
                </c:pt>
                <c:pt idx="2517">
                  <c:v>41965</c:v>
                </c:pt>
                <c:pt idx="2518">
                  <c:v>41966</c:v>
                </c:pt>
                <c:pt idx="2519">
                  <c:v>41967</c:v>
                </c:pt>
                <c:pt idx="2520">
                  <c:v>41968</c:v>
                </c:pt>
                <c:pt idx="2521">
                  <c:v>41969</c:v>
                </c:pt>
                <c:pt idx="2522">
                  <c:v>41970</c:v>
                </c:pt>
                <c:pt idx="2523">
                  <c:v>41971</c:v>
                </c:pt>
                <c:pt idx="2524">
                  <c:v>41972</c:v>
                </c:pt>
                <c:pt idx="2525">
                  <c:v>41973</c:v>
                </c:pt>
                <c:pt idx="2526">
                  <c:v>41974</c:v>
                </c:pt>
                <c:pt idx="2527">
                  <c:v>41975</c:v>
                </c:pt>
                <c:pt idx="2528">
                  <c:v>41976</c:v>
                </c:pt>
                <c:pt idx="2529">
                  <c:v>41977</c:v>
                </c:pt>
                <c:pt idx="2530">
                  <c:v>41978</c:v>
                </c:pt>
                <c:pt idx="2531">
                  <c:v>41979</c:v>
                </c:pt>
                <c:pt idx="2532">
                  <c:v>41980</c:v>
                </c:pt>
                <c:pt idx="2533">
                  <c:v>41981</c:v>
                </c:pt>
                <c:pt idx="2534">
                  <c:v>41982</c:v>
                </c:pt>
                <c:pt idx="2535">
                  <c:v>41983</c:v>
                </c:pt>
                <c:pt idx="2536">
                  <c:v>41984</c:v>
                </c:pt>
                <c:pt idx="2537">
                  <c:v>41985</c:v>
                </c:pt>
                <c:pt idx="2538">
                  <c:v>41986</c:v>
                </c:pt>
                <c:pt idx="2539">
                  <c:v>41987</c:v>
                </c:pt>
                <c:pt idx="2540">
                  <c:v>41988</c:v>
                </c:pt>
                <c:pt idx="2541">
                  <c:v>41989</c:v>
                </c:pt>
                <c:pt idx="2542">
                  <c:v>41990</c:v>
                </c:pt>
                <c:pt idx="2543">
                  <c:v>41991</c:v>
                </c:pt>
                <c:pt idx="2544">
                  <c:v>41992</c:v>
                </c:pt>
                <c:pt idx="2545">
                  <c:v>41993</c:v>
                </c:pt>
                <c:pt idx="2546">
                  <c:v>41994</c:v>
                </c:pt>
                <c:pt idx="2547">
                  <c:v>41995</c:v>
                </c:pt>
                <c:pt idx="2548">
                  <c:v>41996</c:v>
                </c:pt>
                <c:pt idx="2549">
                  <c:v>41997</c:v>
                </c:pt>
                <c:pt idx="2550">
                  <c:v>41998</c:v>
                </c:pt>
                <c:pt idx="2551">
                  <c:v>41999</c:v>
                </c:pt>
                <c:pt idx="2552">
                  <c:v>42000</c:v>
                </c:pt>
                <c:pt idx="2553">
                  <c:v>42001</c:v>
                </c:pt>
                <c:pt idx="2554">
                  <c:v>42002</c:v>
                </c:pt>
                <c:pt idx="2555">
                  <c:v>42003</c:v>
                </c:pt>
                <c:pt idx="2556">
                  <c:v>42004</c:v>
                </c:pt>
                <c:pt idx="2557">
                  <c:v>42005</c:v>
                </c:pt>
                <c:pt idx="2558">
                  <c:v>42006</c:v>
                </c:pt>
                <c:pt idx="2559">
                  <c:v>42007</c:v>
                </c:pt>
                <c:pt idx="2560">
                  <c:v>42008</c:v>
                </c:pt>
                <c:pt idx="2561">
                  <c:v>42009</c:v>
                </c:pt>
                <c:pt idx="2562">
                  <c:v>42010</c:v>
                </c:pt>
                <c:pt idx="2563">
                  <c:v>42011</c:v>
                </c:pt>
                <c:pt idx="2564">
                  <c:v>42012</c:v>
                </c:pt>
                <c:pt idx="2565">
                  <c:v>42013</c:v>
                </c:pt>
                <c:pt idx="2566">
                  <c:v>42014</c:v>
                </c:pt>
                <c:pt idx="2567">
                  <c:v>42015</c:v>
                </c:pt>
                <c:pt idx="2568">
                  <c:v>42016</c:v>
                </c:pt>
                <c:pt idx="2569">
                  <c:v>42017</c:v>
                </c:pt>
                <c:pt idx="2570">
                  <c:v>42018</c:v>
                </c:pt>
                <c:pt idx="2571">
                  <c:v>42019</c:v>
                </c:pt>
                <c:pt idx="2572">
                  <c:v>42020</c:v>
                </c:pt>
                <c:pt idx="2573">
                  <c:v>42021</c:v>
                </c:pt>
                <c:pt idx="2574">
                  <c:v>42022</c:v>
                </c:pt>
                <c:pt idx="2575">
                  <c:v>42023</c:v>
                </c:pt>
                <c:pt idx="2576">
                  <c:v>42024</c:v>
                </c:pt>
                <c:pt idx="2577">
                  <c:v>42025</c:v>
                </c:pt>
                <c:pt idx="2578">
                  <c:v>42026</c:v>
                </c:pt>
                <c:pt idx="2579">
                  <c:v>42027</c:v>
                </c:pt>
                <c:pt idx="2580">
                  <c:v>42028</c:v>
                </c:pt>
                <c:pt idx="2581">
                  <c:v>42029</c:v>
                </c:pt>
                <c:pt idx="2582">
                  <c:v>42030</c:v>
                </c:pt>
                <c:pt idx="2583">
                  <c:v>42031</c:v>
                </c:pt>
                <c:pt idx="2584">
                  <c:v>42032</c:v>
                </c:pt>
                <c:pt idx="2585">
                  <c:v>42033</c:v>
                </c:pt>
                <c:pt idx="2586">
                  <c:v>42034</c:v>
                </c:pt>
                <c:pt idx="2587">
                  <c:v>42035</c:v>
                </c:pt>
                <c:pt idx="2588">
                  <c:v>42036</c:v>
                </c:pt>
                <c:pt idx="2589">
                  <c:v>42037</c:v>
                </c:pt>
                <c:pt idx="2590">
                  <c:v>42038</c:v>
                </c:pt>
                <c:pt idx="2591">
                  <c:v>42039</c:v>
                </c:pt>
                <c:pt idx="2592">
                  <c:v>42040</c:v>
                </c:pt>
                <c:pt idx="2593">
                  <c:v>42041</c:v>
                </c:pt>
                <c:pt idx="2594">
                  <c:v>42042</c:v>
                </c:pt>
                <c:pt idx="2595">
                  <c:v>42043</c:v>
                </c:pt>
                <c:pt idx="2596">
                  <c:v>42044</c:v>
                </c:pt>
                <c:pt idx="2597">
                  <c:v>42045</c:v>
                </c:pt>
                <c:pt idx="2598">
                  <c:v>42046</c:v>
                </c:pt>
                <c:pt idx="2599">
                  <c:v>42047</c:v>
                </c:pt>
                <c:pt idx="2600">
                  <c:v>42048</c:v>
                </c:pt>
                <c:pt idx="2601">
                  <c:v>42049</c:v>
                </c:pt>
                <c:pt idx="2602">
                  <c:v>42050</c:v>
                </c:pt>
                <c:pt idx="2603">
                  <c:v>42051</c:v>
                </c:pt>
                <c:pt idx="2604">
                  <c:v>42052</c:v>
                </c:pt>
                <c:pt idx="2605">
                  <c:v>42053</c:v>
                </c:pt>
                <c:pt idx="2606">
                  <c:v>42054</c:v>
                </c:pt>
                <c:pt idx="2607">
                  <c:v>42055</c:v>
                </c:pt>
                <c:pt idx="2608">
                  <c:v>42056</c:v>
                </c:pt>
                <c:pt idx="2609">
                  <c:v>42057</c:v>
                </c:pt>
                <c:pt idx="2610">
                  <c:v>42058</c:v>
                </c:pt>
                <c:pt idx="2611">
                  <c:v>42059</c:v>
                </c:pt>
                <c:pt idx="2612">
                  <c:v>42060</c:v>
                </c:pt>
                <c:pt idx="2613">
                  <c:v>42061</c:v>
                </c:pt>
                <c:pt idx="2614">
                  <c:v>42062</c:v>
                </c:pt>
                <c:pt idx="2615">
                  <c:v>42063</c:v>
                </c:pt>
                <c:pt idx="2616">
                  <c:v>42064</c:v>
                </c:pt>
                <c:pt idx="2617">
                  <c:v>42065</c:v>
                </c:pt>
                <c:pt idx="2618">
                  <c:v>42066</c:v>
                </c:pt>
                <c:pt idx="2619">
                  <c:v>42067</c:v>
                </c:pt>
                <c:pt idx="2620">
                  <c:v>42068</c:v>
                </c:pt>
                <c:pt idx="2621">
                  <c:v>42069</c:v>
                </c:pt>
                <c:pt idx="2622">
                  <c:v>42070</c:v>
                </c:pt>
                <c:pt idx="2623">
                  <c:v>42071</c:v>
                </c:pt>
                <c:pt idx="2624">
                  <c:v>42072</c:v>
                </c:pt>
                <c:pt idx="2625">
                  <c:v>42073</c:v>
                </c:pt>
                <c:pt idx="2626">
                  <c:v>42074</c:v>
                </c:pt>
                <c:pt idx="2627">
                  <c:v>42075</c:v>
                </c:pt>
                <c:pt idx="2628">
                  <c:v>42076</c:v>
                </c:pt>
                <c:pt idx="2629">
                  <c:v>42077</c:v>
                </c:pt>
                <c:pt idx="2630">
                  <c:v>42078</c:v>
                </c:pt>
                <c:pt idx="2631">
                  <c:v>42079</c:v>
                </c:pt>
                <c:pt idx="2632">
                  <c:v>42080</c:v>
                </c:pt>
                <c:pt idx="2633">
                  <c:v>42081</c:v>
                </c:pt>
                <c:pt idx="2634">
                  <c:v>42082</c:v>
                </c:pt>
                <c:pt idx="2635">
                  <c:v>42083</c:v>
                </c:pt>
                <c:pt idx="2636">
                  <c:v>42084</c:v>
                </c:pt>
                <c:pt idx="2637">
                  <c:v>42085</c:v>
                </c:pt>
                <c:pt idx="2638">
                  <c:v>42086</c:v>
                </c:pt>
                <c:pt idx="2639">
                  <c:v>42087</c:v>
                </c:pt>
                <c:pt idx="2640">
                  <c:v>42088</c:v>
                </c:pt>
                <c:pt idx="2641">
                  <c:v>42089</c:v>
                </c:pt>
                <c:pt idx="2642">
                  <c:v>42090</c:v>
                </c:pt>
                <c:pt idx="2643">
                  <c:v>42091</c:v>
                </c:pt>
                <c:pt idx="2644">
                  <c:v>42092</c:v>
                </c:pt>
                <c:pt idx="2645">
                  <c:v>42093</c:v>
                </c:pt>
                <c:pt idx="2646">
                  <c:v>42094</c:v>
                </c:pt>
                <c:pt idx="2647">
                  <c:v>42095</c:v>
                </c:pt>
                <c:pt idx="2648">
                  <c:v>42096</c:v>
                </c:pt>
                <c:pt idx="2649">
                  <c:v>42097</c:v>
                </c:pt>
                <c:pt idx="2650">
                  <c:v>42098</c:v>
                </c:pt>
                <c:pt idx="2651">
                  <c:v>42099</c:v>
                </c:pt>
                <c:pt idx="2652">
                  <c:v>42100</c:v>
                </c:pt>
                <c:pt idx="2653">
                  <c:v>42101</c:v>
                </c:pt>
                <c:pt idx="2654">
                  <c:v>42102</c:v>
                </c:pt>
                <c:pt idx="2655">
                  <c:v>42103</c:v>
                </c:pt>
                <c:pt idx="2656">
                  <c:v>42104</c:v>
                </c:pt>
                <c:pt idx="2657">
                  <c:v>42105</c:v>
                </c:pt>
                <c:pt idx="2658">
                  <c:v>42106</c:v>
                </c:pt>
                <c:pt idx="2659">
                  <c:v>42107</c:v>
                </c:pt>
                <c:pt idx="2660">
                  <c:v>42108</c:v>
                </c:pt>
                <c:pt idx="2661">
                  <c:v>42109</c:v>
                </c:pt>
                <c:pt idx="2662">
                  <c:v>42110</c:v>
                </c:pt>
                <c:pt idx="2663">
                  <c:v>42111</c:v>
                </c:pt>
                <c:pt idx="2664">
                  <c:v>42112</c:v>
                </c:pt>
                <c:pt idx="2665">
                  <c:v>42113</c:v>
                </c:pt>
                <c:pt idx="2666">
                  <c:v>42114</c:v>
                </c:pt>
                <c:pt idx="2667">
                  <c:v>42115</c:v>
                </c:pt>
                <c:pt idx="2668">
                  <c:v>42116</c:v>
                </c:pt>
                <c:pt idx="2669">
                  <c:v>42117</c:v>
                </c:pt>
                <c:pt idx="2670">
                  <c:v>42118</c:v>
                </c:pt>
                <c:pt idx="2671">
                  <c:v>42119</c:v>
                </c:pt>
                <c:pt idx="2672">
                  <c:v>42120</c:v>
                </c:pt>
                <c:pt idx="2673">
                  <c:v>42121</c:v>
                </c:pt>
                <c:pt idx="2674">
                  <c:v>42122</c:v>
                </c:pt>
                <c:pt idx="2675">
                  <c:v>42123</c:v>
                </c:pt>
                <c:pt idx="2676">
                  <c:v>42124</c:v>
                </c:pt>
                <c:pt idx="2677">
                  <c:v>42125</c:v>
                </c:pt>
                <c:pt idx="2678">
                  <c:v>42126</c:v>
                </c:pt>
                <c:pt idx="2679">
                  <c:v>42127</c:v>
                </c:pt>
                <c:pt idx="2680">
                  <c:v>42128</c:v>
                </c:pt>
                <c:pt idx="2681">
                  <c:v>42129</c:v>
                </c:pt>
                <c:pt idx="2682">
                  <c:v>42130</c:v>
                </c:pt>
                <c:pt idx="2683">
                  <c:v>42131</c:v>
                </c:pt>
                <c:pt idx="2684">
                  <c:v>42132</c:v>
                </c:pt>
                <c:pt idx="2685">
                  <c:v>42133</c:v>
                </c:pt>
                <c:pt idx="2686">
                  <c:v>42134</c:v>
                </c:pt>
                <c:pt idx="2687">
                  <c:v>42135</c:v>
                </c:pt>
                <c:pt idx="2688">
                  <c:v>42136</c:v>
                </c:pt>
                <c:pt idx="2689">
                  <c:v>42137</c:v>
                </c:pt>
                <c:pt idx="2690">
                  <c:v>42138</c:v>
                </c:pt>
                <c:pt idx="2691">
                  <c:v>42139</c:v>
                </c:pt>
                <c:pt idx="2692">
                  <c:v>42140</c:v>
                </c:pt>
                <c:pt idx="2693">
                  <c:v>42141</c:v>
                </c:pt>
                <c:pt idx="2694">
                  <c:v>42142</c:v>
                </c:pt>
                <c:pt idx="2695">
                  <c:v>42143</c:v>
                </c:pt>
                <c:pt idx="2696">
                  <c:v>42144</c:v>
                </c:pt>
                <c:pt idx="2697">
                  <c:v>42145</c:v>
                </c:pt>
                <c:pt idx="2698">
                  <c:v>42146</c:v>
                </c:pt>
                <c:pt idx="2699">
                  <c:v>42147</c:v>
                </c:pt>
                <c:pt idx="2700">
                  <c:v>42148</c:v>
                </c:pt>
                <c:pt idx="2701">
                  <c:v>42149</c:v>
                </c:pt>
                <c:pt idx="2702">
                  <c:v>42150</c:v>
                </c:pt>
                <c:pt idx="2703">
                  <c:v>42151</c:v>
                </c:pt>
                <c:pt idx="2704">
                  <c:v>42152</c:v>
                </c:pt>
                <c:pt idx="2705">
                  <c:v>42153</c:v>
                </c:pt>
                <c:pt idx="2706">
                  <c:v>42154</c:v>
                </c:pt>
                <c:pt idx="2707">
                  <c:v>42155</c:v>
                </c:pt>
                <c:pt idx="2708">
                  <c:v>42156</c:v>
                </c:pt>
                <c:pt idx="2709">
                  <c:v>42157</c:v>
                </c:pt>
                <c:pt idx="2710">
                  <c:v>42158</c:v>
                </c:pt>
                <c:pt idx="2711">
                  <c:v>42159</c:v>
                </c:pt>
                <c:pt idx="2712">
                  <c:v>42160</c:v>
                </c:pt>
                <c:pt idx="2713">
                  <c:v>42161</c:v>
                </c:pt>
                <c:pt idx="2714">
                  <c:v>42162</c:v>
                </c:pt>
                <c:pt idx="2715">
                  <c:v>42163</c:v>
                </c:pt>
                <c:pt idx="2716">
                  <c:v>42164</c:v>
                </c:pt>
                <c:pt idx="2717">
                  <c:v>42165</c:v>
                </c:pt>
                <c:pt idx="2718">
                  <c:v>42166</c:v>
                </c:pt>
                <c:pt idx="2719">
                  <c:v>42167</c:v>
                </c:pt>
                <c:pt idx="2720">
                  <c:v>42168</c:v>
                </c:pt>
                <c:pt idx="2721">
                  <c:v>42169</c:v>
                </c:pt>
                <c:pt idx="2722">
                  <c:v>42170</c:v>
                </c:pt>
                <c:pt idx="2723">
                  <c:v>42171</c:v>
                </c:pt>
                <c:pt idx="2724">
                  <c:v>42172</c:v>
                </c:pt>
                <c:pt idx="2725">
                  <c:v>42173</c:v>
                </c:pt>
                <c:pt idx="2726">
                  <c:v>42174</c:v>
                </c:pt>
                <c:pt idx="2727">
                  <c:v>42175</c:v>
                </c:pt>
                <c:pt idx="2728">
                  <c:v>42176</c:v>
                </c:pt>
                <c:pt idx="2729">
                  <c:v>42177</c:v>
                </c:pt>
                <c:pt idx="2730">
                  <c:v>42178</c:v>
                </c:pt>
                <c:pt idx="2731">
                  <c:v>42179</c:v>
                </c:pt>
                <c:pt idx="2732">
                  <c:v>42180</c:v>
                </c:pt>
                <c:pt idx="2733">
                  <c:v>42181</c:v>
                </c:pt>
                <c:pt idx="2734">
                  <c:v>42182</c:v>
                </c:pt>
                <c:pt idx="2735">
                  <c:v>42183</c:v>
                </c:pt>
                <c:pt idx="2736">
                  <c:v>42184</c:v>
                </c:pt>
                <c:pt idx="2737">
                  <c:v>42185</c:v>
                </c:pt>
                <c:pt idx="2738">
                  <c:v>42186</c:v>
                </c:pt>
                <c:pt idx="2739">
                  <c:v>42187</c:v>
                </c:pt>
                <c:pt idx="2740">
                  <c:v>42188</c:v>
                </c:pt>
                <c:pt idx="2741">
                  <c:v>42189</c:v>
                </c:pt>
                <c:pt idx="2742">
                  <c:v>42190</c:v>
                </c:pt>
                <c:pt idx="2743">
                  <c:v>42191</c:v>
                </c:pt>
                <c:pt idx="2744">
                  <c:v>42192</c:v>
                </c:pt>
                <c:pt idx="2745">
                  <c:v>42193</c:v>
                </c:pt>
                <c:pt idx="2746">
                  <c:v>42194</c:v>
                </c:pt>
                <c:pt idx="2747">
                  <c:v>42195</c:v>
                </c:pt>
                <c:pt idx="2748">
                  <c:v>42196</c:v>
                </c:pt>
                <c:pt idx="2749">
                  <c:v>42197</c:v>
                </c:pt>
                <c:pt idx="2750">
                  <c:v>42198</c:v>
                </c:pt>
                <c:pt idx="2751">
                  <c:v>42199</c:v>
                </c:pt>
                <c:pt idx="2752">
                  <c:v>42200</c:v>
                </c:pt>
                <c:pt idx="2753">
                  <c:v>42201</c:v>
                </c:pt>
                <c:pt idx="2754">
                  <c:v>42202</c:v>
                </c:pt>
                <c:pt idx="2755">
                  <c:v>42203</c:v>
                </c:pt>
                <c:pt idx="2756">
                  <c:v>42204</c:v>
                </c:pt>
                <c:pt idx="2757">
                  <c:v>42205</c:v>
                </c:pt>
                <c:pt idx="2758">
                  <c:v>42206</c:v>
                </c:pt>
                <c:pt idx="2759">
                  <c:v>42207</c:v>
                </c:pt>
                <c:pt idx="2760">
                  <c:v>42208</c:v>
                </c:pt>
                <c:pt idx="2761">
                  <c:v>42209</c:v>
                </c:pt>
                <c:pt idx="2762">
                  <c:v>42210</c:v>
                </c:pt>
                <c:pt idx="2763">
                  <c:v>42211</c:v>
                </c:pt>
                <c:pt idx="2764">
                  <c:v>42212</c:v>
                </c:pt>
                <c:pt idx="2765">
                  <c:v>42213</c:v>
                </c:pt>
                <c:pt idx="2766">
                  <c:v>42214</c:v>
                </c:pt>
                <c:pt idx="2767">
                  <c:v>42215</c:v>
                </c:pt>
                <c:pt idx="2768">
                  <c:v>42216</c:v>
                </c:pt>
                <c:pt idx="2769">
                  <c:v>42217</c:v>
                </c:pt>
                <c:pt idx="2770">
                  <c:v>42218</c:v>
                </c:pt>
                <c:pt idx="2771">
                  <c:v>42219</c:v>
                </c:pt>
                <c:pt idx="2772">
                  <c:v>42220</c:v>
                </c:pt>
                <c:pt idx="2773">
                  <c:v>42221</c:v>
                </c:pt>
                <c:pt idx="2774">
                  <c:v>42222</c:v>
                </c:pt>
                <c:pt idx="2775">
                  <c:v>42223</c:v>
                </c:pt>
                <c:pt idx="2776">
                  <c:v>42224</c:v>
                </c:pt>
                <c:pt idx="2777">
                  <c:v>42225</c:v>
                </c:pt>
                <c:pt idx="2778">
                  <c:v>42226</c:v>
                </c:pt>
                <c:pt idx="2779">
                  <c:v>42227</c:v>
                </c:pt>
                <c:pt idx="2780">
                  <c:v>42228</c:v>
                </c:pt>
                <c:pt idx="2781">
                  <c:v>42229</c:v>
                </c:pt>
                <c:pt idx="2782">
                  <c:v>42230</c:v>
                </c:pt>
                <c:pt idx="2783">
                  <c:v>42231</c:v>
                </c:pt>
                <c:pt idx="2784">
                  <c:v>42232</c:v>
                </c:pt>
                <c:pt idx="2785">
                  <c:v>42233</c:v>
                </c:pt>
                <c:pt idx="2786">
                  <c:v>42234</c:v>
                </c:pt>
                <c:pt idx="2787">
                  <c:v>42235</c:v>
                </c:pt>
                <c:pt idx="2788">
                  <c:v>42236</c:v>
                </c:pt>
                <c:pt idx="2789">
                  <c:v>42237</c:v>
                </c:pt>
                <c:pt idx="2790">
                  <c:v>42238</c:v>
                </c:pt>
                <c:pt idx="2791">
                  <c:v>42239</c:v>
                </c:pt>
                <c:pt idx="2792">
                  <c:v>42240</c:v>
                </c:pt>
                <c:pt idx="2793">
                  <c:v>42241</c:v>
                </c:pt>
                <c:pt idx="2794">
                  <c:v>42242</c:v>
                </c:pt>
                <c:pt idx="2795">
                  <c:v>42243</c:v>
                </c:pt>
                <c:pt idx="2796">
                  <c:v>42244</c:v>
                </c:pt>
                <c:pt idx="2797">
                  <c:v>42245</c:v>
                </c:pt>
                <c:pt idx="2798">
                  <c:v>42246</c:v>
                </c:pt>
                <c:pt idx="2799">
                  <c:v>42247</c:v>
                </c:pt>
                <c:pt idx="2800">
                  <c:v>42248</c:v>
                </c:pt>
                <c:pt idx="2801">
                  <c:v>42249</c:v>
                </c:pt>
                <c:pt idx="2802">
                  <c:v>42250</c:v>
                </c:pt>
                <c:pt idx="2803">
                  <c:v>42251</c:v>
                </c:pt>
                <c:pt idx="2804">
                  <c:v>42252</c:v>
                </c:pt>
                <c:pt idx="2805">
                  <c:v>42253</c:v>
                </c:pt>
                <c:pt idx="2806">
                  <c:v>42254</c:v>
                </c:pt>
                <c:pt idx="2807">
                  <c:v>42255</c:v>
                </c:pt>
                <c:pt idx="2808">
                  <c:v>42256</c:v>
                </c:pt>
                <c:pt idx="2809">
                  <c:v>42257</c:v>
                </c:pt>
                <c:pt idx="2810">
                  <c:v>42258</c:v>
                </c:pt>
                <c:pt idx="2811">
                  <c:v>42259</c:v>
                </c:pt>
                <c:pt idx="2812">
                  <c:v>42260</c:v>
                </c:pt>
                <c:pt idx="2813">
                  <c:v>42261</c:v>
                </c:pt>
                <c:pt idx="2814">
                  <c:v>42262</c:v>
                </c:pt>
                <c:pt idx="2815">
                  <c:v>42263</c:v>
                </c:pt>
                <c:pt idx="2816">
                  <c:v>42264</c:v>
                </c:pt>
                <c:pt idx="2817">
                  <c:v>42265</c:v>
                </c:pt>
                <c:pt idx="2818">
                  <c:v>42266</c:v>
                </c:pt>
                <c:pt idx="2819">
                  <c:v>42267</c:v>
                </c:pt>
                <c:pt idx="2820">
                  <c:v>42268</c:v>
                </c:pt>
                <c:pt idx="2821">
                  <c:v>42269</c:v>
                </c:pt>
                <c:pt idx="2822">
                  <c:v>42270</c:v>
                </c:pt>
                <c:pt idx="2823">
                  <c:v>42271</c:v>
                </c:pt>
                <c:pt idx="2824">
                  <c:v>42272</c:v>
                </c:pt>
                <c:pt idx="2825">
                  <c:v>42273</c:v>
                </c:pt>
                <c:pt idx="2826">
                  <c:v>42274</c:v>
                </c:pt>
                <c:pt idx="2827">
                  <c:v>42275</c:v>
                </c:pt>
                <c:pt idx="2828">
                  <c:v>42276</c:v>
                </c:pt>
                <c:pt idx="2829">
                  <c:v>42277</c:v>
                </c:pt>
                <c:pt idx="2830">
                  <c:v>42278</c:v>
                </c:pt>
                <c:pt idx="2831">
                  <c:v>42279</c:v>
                </c:pt>
                <c:pt idx="2832">
                  <c:v>42280</c:v>
                </c:pt>
                <c:pt idx="2833">
                  <c:v>42281</c:v>
                </c:pt>
                <c:pt idx="2834">
                  <c:v>42282</c:v>
                </c:pt>
                <c:pt idx="2835">
                  <c:v>42283</c:v>
                </c:pt>
                <c:pt idx="2836">
                  <c:v>42284</c:v>
                </c:pt>
                <c:pt idx="2837">
                  <c:v>42285</c:v>
                </c:pt>
                <c:pt idx="2838">
                  <c:v>42286</c:v>
                </c:pt>
                <c:pt idx="2839">
                  <c:v>42287</c:v>
                </c:pt>
                <c:pt idx="2840">
                  <c:v>42288</c:v>
                </c:pt>
                <c:pt idx="2841">
                  <c:v>42289</c:v>
                </c:pt>
                <c:pt idx="2842">
                  <c:v>42290</c:v>
                </c:pt>
                <c:pt idx="2843">
                  <c:v>42291</c:v>
                </c:pt>
                <c:pt idx="2844">
                  <c:v>42292</c:v>
                </c:pt>
                <c:pt idx="2845">
                  <c:v>42293</c:v>
                </c:pt>
                <c:pt idx="2846">
                  <c:v>42294</c:v>
                </c:pt>
                <c:pt idx="2847">
                  <c:v>42295</c:v>
                </c:pt>
                <c:pt idx="2848">
                  <c:v>42296</c:v>
                </c:pt>
                <c:pt idx="2849">
                  <c:v>42297</c:v>
                </c:pt>
                <c:pt idx="2850">
                  <c:v>42298</c:v>
                </c:pt>
                <c:pt idx="2851">
                  <c:v>42299</c:v>
                </c:pt>
                <c:pt idx="2852">
                  <c:v>42300</c:v>
                </c:pt>
                <c:pt idx="2853">
                  <c:v>42301</c:v>
                </c:pt>
                <c:pt idx="2854">
                  <c:v>42302</c:v>
                </c:pt>
                <c:pt idx="2855">
                  <c:v>42303</c:v>
                </c:pt>
                <c:pt idx="2856">
                  <c:v>42304</c:v>
                </c:pt>
                <c:pt idx="2857">
                  <c:v>42305</c:v>
                </c:pt>
                <c:pt idx="2858">
                  <c:v>42306</c:v>
                </c:pt>
                <c:pt idx="2859">
                  <c:v>42307</c:v>
                </c:pt>
                <c:pt idx="2860">
                  <c:v>42308</c:v>
                </c:pt>
                <c:pt idx="2861">
                  <c:v>42309</c:v>
                </c:pt>
                <c:pt idx="2862">
                  <c:v>42310</c:v>
                </c:pt>
                <c:pt idx="2863">
                  <c:v>42311</c:v>
                </c:pt>
                <c:pt idx="2864">
                  <c:v>42312</c:v>
                </c:pt>
                <c:pt idx="2865">
                  <c:v>42313</c:v>
                </c:pt>
                <c:pt idx="2866">
                  <c:v>42314</c:v>
                </c:pt>
                <c:pt idx="2867">
                  <c:v>42315</c:v>
                </c:pt>
                <c:pt idx="2868">
                  <c:v>42316</c:v>
                </c:pt>
                <c:pt idx="2869">
                  <c:v>42317</c:v>
                </c:pt>
                <c:pt idx="2870">
                  <c:v>42318</c:v>
                </c:pt>
                <c:pt idx="2871">
                  <c:v>42319</c:v>
                </c:pt>
                <c:pt idx="2872">
                  <c:v>42320</c:v>
                </c:pt>
                <c:pt idx="2873">
                  <c:v>42321</c:v>
                </c:pt>
                <c:pt idx="2874">
                  <c:v>42322</c:v>
                </c:pt>
                <c:pt idx="2875">
                  <c:v>42323</c:v>
                </c:pt>
                <c:pt idx="2876">
                  <c:v>42324</c:v>
                </c:pt>
                <c:pt idx="2877">
                  <c:v>42325</c:v>
                </c:pt>
                <c:pt idx="2878">
                  <c:v>42326</c:v>
                </c:pt>
                <c:pt idx="2879">
                  <c:v>42327</c:v>
                </c:pt>
                <c:pt idx="2880">
                  <c:v>42328</c:v>
                </c:pt>
                <c:pt idx="2881">
                  <c:v>42329</c:v>
                </c:pt>
                <c:pt idx="2882">
                  <c:v>42330</c:v>
                </c:pt>
                <c:pt idx="2883">
                  <c:v>42331</c:v>
                </c:pt>
                <c:pt idx="2884">
                  <c:v>42332</c:v>
                </c:pt>
                <c:pt idx="2885">
                  <c:v>42333</c:v>
                </c:pt>
                <c:pt idx="2886">
                  <c:v>42334</c:v>
                </c:pt>
                <c:pt idx="2887">
                  <c:v>42335</c:v>
                </c:pt>
                <c:pt idx="2888">
                  <c:v>42336</c:v>
                </c:pt>
                <c:pt idx="2889">
                  <c:v>42337</c:v>
                </c:pt>
                <c:pt idx="2890">
                  <c:v>42338</c:v>
                </c:pt>
                <c:pt idx="2891">
                  <c:v>42339</c:v>
                </c:pt>
                <c:pt idx="2892">
                  <c:v>42340</c:v>
                </c:pt>
                <c:pt idx="2893">
                  <c:v>42341</c:v>
                </c:pt>
                <c:pt idx="2894">
                  <c:v>42342</c:v>
                </c:pt>
                <c:pt idx="2895">
                  <c:v>42343</c:v>
                </c:pt>
                <c:pt idx="2896">
                  <c:v>42344</c:v>
                </c:pt>
                <c:pt idx="2897">
                  <c:v>42345</c:v>
                </c:pt>
                <c:pt idx="2898">
                  <c:v>42346</c:v>
                </c:pt>
                <c:pt idx="2899">
                  <c:v>42347</c:v>
                </c:pt>
                <c:pt idx="2900">
                  <c:v>42348</c:v>
                </c:pt>
                <c:pt idx="2901">
                  <c:v>42349</c:v>
                </c:pt>
                <c:pt idx="2902">
                  <c:v>42350</c:v>
                </c:pt>
                <c:pt idx="2903">
                  <c:v>42351</c:v>
                </c:pt>
                <c:pt idx="2904">
                  <c:v>42352</c:v>
                </c:pt>
                <c:pt idx="2905">
                  <c:v>42353</c:v>
                </c:pt>
                <c:pt idx="2906">
                  <c:v>42354</c:v>
                </c:pt>
                <c:pt idx="2907">
                  <c:v>42355</c:v>
                </c:pt>
                <c:pt idx="2908">
                  <c:v>42356</c:v>
                </c:pt>
                <c:pt idx="2909">
                  <c:v>42357</c:v>
                </c:pt>
                <c:pt idx="2910">
                  <c:v>42358</c:v>
                </c:pt>
                <c:pt idx="2911">
                  <c:v>42359</c:v>
                </c:pt>
                <c:pt idx="2912">
                  <c:v>42360</c:v>
                </c:pt>
                <c:pt idx="2913">
                  <c:v>42361</c:v>
                </c:pt>
                <c:pt idx="2914">
                  <c:v>42362</c:v>
                </c:pt>
                <c:pt idx="2915">
                  <c:v>42363</c:v>
                </c:pt>
                <c:pt idx="2916">
                  <c:v>42364</c:v>
                </c:pt>
                <c:pt idx="2917">
                  <c:v>42365</c:v>
                </c:pt>
                <c:pt idx="2918">
                  <c:v>42366</c:v>
                </c:pt>
                <c:pt idx="2919">
                  <c:v>42367</c:v>
                </c:pt>
                <c:pt idx="2920">
                  <c:v>42368</c:v>
                </c:pt>
                <c:pt idx="2921">
                  <c:v>42369</c:v>
                </c:pt>
                <c:pt idx="2922">
                  <c:v>42370</c:v>
                </c:pt>
                <c:pt idx="2923">
                  <c:v>42371</c:v>
                </c:pt>
                <c:pt idx="2924">
                  <c:v>42372</c:v>
                </c:pt>
                <c:pt idx="2925">
                  <c:v>42373</c:v>
                </c:pt>
                <c:pt idx="2926">
                  <c:v>42374</c:v>
                </c:pt>
                <c:pt idx="2927">
                  <c:v>42375</c:v>
                </c:pt>
                <c:pt idx="2928">
                  <c:v>42376</c:v>
                </c:pt>
                <c:pt idx="2929">
                  <c:v>42377</c:v>
                </c:pt>
                <c:pt idx="2930">
                  <c:v>42378</c:v>
                </c:pt>
                <c:pt idx="2931">
                  <c:v>42379</c:v>
                </c:pt>
                <c:pt idx="2932">
                  <c:v>42380</c:v>
                </c:pt>
                <c:pt idx="2933">
                  <c:v>42381</c:v>
                </c:pt>
                <c:pt idx="2934">
                  <c:v>42382</c:v>
                </c:pt>
                <c:pt idx="2935">
                  <c:v>42383</c:v>
                </c:pt>
                <c:pt idx="2936">
                  <c:v>42384</c:v>
                </c:pt>
                <c:pt idx="2937">
                  <c:v>42385</c:v>
                </c:pt>
                <c:pt idx="2938">
                  <c:v>42386</c:v>
                </c:pt>
                <c:pt idx="2939">
                  <c:v>42387</c:v>
                </c:pt>
                <c:pt idx="2940">
                  <c:v>42388</c:v>
                </c:pt>
                <c:pt idx="2941">
                  <c:v>42389</c:v>
                </c:pt>
                <c:pt idx="2942">
                  <c:v>42390</c:v>
                </c:pt>
                <c:pt idx="2943">
                  <c:v>42391</c:v>
                </c:pt>
                <c:pt idx="2944">
                  <c:v>42392</c:v>
                </c:pt>
                <c:pt idx="2945">
                  <c:v>42393</c:v>
                </c:pt>
                <c:pt idx="2946">
                  <c:v>42394</c:v>
                </c:pt>
                <c:pt idx="2947">
                  <c:v>42395</c:v>
                </c:pt>
                <c:pt idx="2948">
                  <c:v>42396</c:v>
                </c:pt>
                <c:pt idx="2949">
                  <c:v>42397</c:v>
                </c:pt>
                <c:pt idx="2950">
                  <c:v>42398</c:v>
                </c:pt>
                <c:pt idx="2951">
                  <c:v>42399</c:v>
                </c:pt>
                <c:pt idx="2952">
                  <c:v>42400</c:v>
                </c:pt>
                <c:pt idx="2953">
                  <c:v>42401</c:v>
                </c:pt>
                <c:pt idx="2954">
                  <c:v>42402</c:v>
                </c:pt>
                <c:pt idx="2955">
                  <c:v>42403</c:v>
                </c:pt>
              </c:numCache>
            </c:numRef>
          </c:cat>
          <c:val>
            <c:numRef>
              <c:f>Daily!$B$3:$DIS$3</c:f>
              <c:numCache>
                <c:formatCode>General</c:formatCode>
                <c:ptCount val="2956"/>
                <c:pt idx="0">
                  <c:v>21.03</c:v>
                </c:pt>
                <c:pt idx="1">
                  <c:v>58.51</c:v>
                </c:pt>
                <c:pt idx="2">
                  <c:v>54.98</c:v>
                </c:pt>
                <c:pt idx="3">
                  <c:v>55.99</c:v>
                </c:pt>
                <c:pt idx="4">
                  <c:v>45.24</c:v>
                </c:pt>
                <c:pt idx="5">
                  <c:v>42.84</c:v>
                </c:pt>
                <c:pt idx="6">
                  <c:v>68.47</c:v>
                </c:pt>
                <c:pt idx="7">
                  <c:v>68.14</c:v>
                </c:pt>
                <c:pt idx="8">
                  <c:v>61.84</c:v>
                </c:pt>
                <c:pt idx="9">
                  <c:v>66.03</c:v>
                </c:pt>
                <c:pt idx="10">
                  <c:v>64.3</c:v>
                </c:pt>
                <c:pt idx="11">
                  <c:v>51.21</c:v>
                </c:pt>
                <c:pt idx="12">
                  <c:v>43.45</c:v>
                </c:pt>
                <c:pt idx="13">
                  <c:v>66.319999999999993</c:v>
                </c:pt>
                <c:pt idx="14">
                  <c:v>64.05</c:v>
                </c:pt>
                <c:pt idx="15">
                  <c:v>66.989999999999995</c:v>
                </c:pt>
                <c:pt idx="16">
                  <c:v>72.98</c:v>
                </c:pt>
                <c:pt idx="17">
                  <c:v>59.97</c:v>
                </c:pt>
                <c:pt idx="18">
                  <c:v>42.32</c:v>
                </c:pt>
                <c:pt idx="19">
                  <c:v>38.49</c:v>
                </c:pt>
                <c:pt idx="20">
                  <c:v>54.3</c:v>
                </c:pt>
                <c:pt idx="21">
                  <c:v>63.87</c:v>
                </c:pt>
                <c:pt idx="22">
                  <c:v>59.25</c:v>
                </c:pt>
                <c:pt idx="23">
                  <c:v>61.35</c:v>
                </c:pt>
                <c:pt idx="24">
                  <c:v>48.86</c:v>
                </c:pt>
                <c:pt idx="25">
                  <c:v>45.19</c:v>
                </c:pt>
                <c:pt idx="26">
                  <c:v>33.43</c:v>
                </c:pt>
                <c:pt idx="27">
                  <c:v>59.97</c:v>
                </c:pt>
                <c:pt idx="28">
                  <c:v>70.67</c:v>
                </c:pt>
                <c:pt idx="29">
                  <c:v>67.83</c:v>
                </c:pt>
                <c:pt idx="30">
                  <c:v>58.25</c:v>
                </c:pt>
                <c:pt idx="31">
                  <c:v>47.57</c:v>
                </c:pt>
                <c:pt idx="32">
                  <c:v>45.55</c:v>
                </c:pt>
                <c:pt idx="33">
                  <c:v>43.5</c:v>
                </c:pt>
                <c:pt idx="34">
                  <c:v>58.85</c:v>
                </c:pt>
                <c:pt idx="35">
                  <c:v>57.33</c:v>
                </c:pt>
                <c:pt idx="36">
                  <c:v>56.73</c:v>
                </c:pt>
                <c:pt idx="37">
                  <c:v>62.89</c:v>
                </c:pt>
                <c:pt idx="38">
                  <c:v>65.78</c:v>
                </c:pt>
                <c:pt idx="39">
                  <c:v>56.1</c:v>
                </c:pt>
                <c:pt idx="40">
                  <c:v>48.49</c:v>
                </c:pt>
                <c:pt idx="41">
                  <c:v>67.91</c:v>
                </c:pt>
                <c:pt idx="42">
                  <c:v>67.150000000000006</c:v>
                </c:pt>
                <c:pt idx="43">
                  <c:v>68.010000000000005</c:v>
                </c:pt>
                <c:pt idx="44">
                  <c:v>66.63</c:v>
                </c:pt>
                <c:pt idx="45">
                  <c:v>66.06</c:v>
                </c:pt>
                <c:pt idx="46">
                  <c:v>55.16</c:v>
                </c:pt>
                <c:pt idx="47">
                  <c:v>49.17</c:v>
                </c:pt>
                <c:pt idx="48">
                  <c:v>66.8</c:v>
                </c:pt>
                <c:pt idx="49">
                  <c:v>79.3</c:v>
                </c:pt>
                <c:pt idx="50">
                  <c:v>76.34</c:v>
                </c:pt>
                <c:pt idx="51">
                  <c:v>63.91</c:v>
                </c:pt>
                <c:pt idx="52">
                  <c:v>53.85</c:v>
                </c:pt>
                <c:pt idx="53">
                  <c:v>53.01</c:v>
                </c:pt>
                <c:pt idx="54">
                  <c:v>47.92</c:v>
                </c:pt>
                <c:pt idx="55">
                  <c:v>63.99</c:v>
                </c:pt>
                <c:pt idx="56">
                  <c:v>54.68</c:v>
                </c:pt>
                <c:pt idx="57">
                  <c:v>53.67</c:v>
                </c:pt>
                <c:pt idx="58">
                  <c:v>67.06</c:v>
                </c:pt>
                <c:pt idx="59">
                  <c:v>61.27</c:v>
                </c:pt>
                <c:pt idx="60">
                  <c:v>37.159999999999997</c:v>
                </c:pt>
                <c:pt idx="61">
                  <c:v>23.62</c:v>
                </c:pt>
                <c:pt idx="62">
                  <c:v>52.44</c:v>
                </c:pt>
                <c:pt idx="63">
                  <c:v>61.4</c:v>
                </c:pt>
                <c:pt idx="64">
                  <c:v>64.72</c:v>
                </c:pt>
                <c:pt idx="65">
                  <c:v>57.92</c:v>
                </c:pt>
                <c:pt idx="66">
                  <c:v>65.739999999999995</c:v>
                </c:pt>
                <c:pt idx="67">
                  <c:v>58.69</c:v>
                </c:pt>
                <c:pt idx="68">
                  <c:v>42.88</c:v>
                </c:pt>
                <c:pt idx="69">
                  <c:v>58.62</c:v>
                </c:pt>
                <c:pt idx="70">
                  <c:v>59.39</c:v>
                </c:pt>
                <c:pt idx="71">
                  <c:v>47.04</c:v>
                </c:pt>
                <c:pt idx="72">
                  <c:v>53.59</c:v>
                </c:pt>
                <c:pt idx="73">
                  <c:v>55.46</c:v>
                </c:pt>
                <c:pt idx="74">
                  <c:v>50.48</c:v>
                </c:pt>
                <c:pt idx="75">
                  <c:v>38.39</c:v>
                </c:pt>
                <c:pt idx="76">
                  <c:v>55.2</c:v>
                </c:pt>
                <c:pt idx="77">
                  <c:v>56.59</c:v>
                </c:pt>
                <c:pt idx="78">
                  <c:v>64.739999999999995</c:v>
                </c:pt>
                <c:pt idx="79">
                  <c:v>62.75</c:v>
                </c:pt>
                <c:pt idx="80">
                  <c:v>47.19</c:v>
                </c:pt>
                <c:pt idx="81">
                  <c:v>50.97</c:v>
                </c:pt>
                <c:pt idx="82">
                  <c:v>44.26</c:v>
                </c:pt>
                <c:pt idx="83">
                  <c:v>39.83</c:v>
                </c:pt>
                <c:pt idx="84">
                  <c:v>61.02</c:v>
                </c:pt>
                <c:pt idx="85">
                  <c:v>67.05</c:v>
                </c:pt>
                <c:pt idx="86">
                  <c:v>71.930000000000007</c:v>
                </c:pt>
                <c:pt idx="87">
                  <c:v>63.57</c:v>
                </c:pt>
                <c:pt idx="88">
                  <c:v>48.09</c:v>
                </c:pt>
                <c:pt idx="89">
                  <c:v>31.64</c:v>
                </c:pt>
                <c:pt idx="90">
                  <c:v>61.11</c:v>
                </c:pt>
                <c:pt idx="91">
                  <c:v>66.099999999999994</c:v>
                </c:pt>
                <c:pt idx="92">
                  <c:v>66.55</c:v>
                </c:pt>
                <c:pt idx="93">
                  <c:v>69.069999999999993</c:v>
                </c:pt>
                <c:pt idx="94">
                  <c:v>69.88</c:v>
                </c:pt>
                <c:pt idx="95">
                  <c:v>52</c:v>
                </c:pt>
                <c:pt idx="96">
                  <c:v>49.64</c:v>
                </c:pt>
                <c:pt idx="97">
                  <c:v>74.819999999999993</c:v>
                </c:pt>
                <c:pt idx="98">
                  <c:v>94.94</c:v>
                </c:pt>
                <c:pt idx="99">
                  <c:v>98.68</c:v>
                </c:pt>
                <c:pt idx="100">
                  <c:v>85.08</c:v>
                </c:pt>
                <c:pt idx="101">
                  <c:v>78.19</c:v>
                </c:pt>
                <c:pt idx="102">
                  <c:v>58.8</c:v>
                </c:pt>
                <c:pt idx="103">
                  <c:v>48.21</c:v>
                </c:pt>
                <c:pt idx="104">
                  <c:v>79.319999999999993</c:v>
                </c:pt>
                <c:pt idx="105">
                  <c:v>79.319999999999993</c:v>
                </c:pt>
                <c:pt idx="106">
                  <c:v>80.319999999999993</c:v>
                </c:pt>
                <c:pt idx="107">
                  <c:v>82.55</c:v>
                </c:pt>
                <c:pt idx="108">
                  <c:v>74.61</c:v>
                </c:pt>
                <c:pt idx="109">
                  <c:v>55.74</c:v>
                </c:pt>
                <c:pt idx="110">
                  <c:v>45.19</c:v>
                </c:pt>
                <c:pt idx="111">
                  <c:v>66.36</c:v>
                </c:pt>
                <c:pt idx="112">
                  <c:v>61.78</c:v>
                </c:pt>
                <c:pt idx="113">
                  <c:v>66.25</c:v>
                </c:pt>
                <c:pt idx="114">
                  <c:v>69.81</c:v>
                </c:pt>
                <c:pt idx="115">
                  <c:v>60.05</c:v>
                </c:pt>
                <c:pt idx="116">
                  <c:v>55.1</c:v>
                </c:pt>
                <c:pt idx="117">
                  <c:v>42.35</c:v>
                </c:pt>
                <c:pt idx="118">
                  <c:v>64.22</c:v>
                </c:pt>
                <c:pt idx="119">
                  <c:v>69</c:v>
                </c:pt>
                <c:pt idx="120">
                  <c:v>59.98</c:v>
                </c:pt>
                <c:pt idx="121">
                  <c:v>28.23</c:v>
                </c:pt>
                <c:pt idx="122">
                  <c:v>44.82</c:v>
                </c:pt>
                <c:pt idx="123">
                  <c:v>59.46</c:v>
                </c:pt>
                <c:pt idx="124">
                  <c:v>40.96</c:v>
                </c:pt>
                <c:pt idx="125">
                  <c:v>65.819999999999993</c:v>
                </c:pt>
                <c:pt idx="126">
                  <c:v>66.45</c:v>
                </c:pt>
                <c:pt idx="127">
                  <c:v>66.33</c:v>
                </c:pt>
                <c:pt idx="128">
                  <c:v>65.319999999999993</c:v>
                </c:pt>
                <c:pt idx="129">
                  <c:v>55.62</c:v>
                </c:pt>
                <c:pt idx="130">
                  <c:v>41.45</c:v>
                </c:pt>
                <c:pt idx="131">
                  <c:v>22.92</c:v>
                </c:pt>
                <c:pt idx="132">
                  <c:v>34.69</c:v>
                </c:pt>
                <c:pt idx="133">
                  <c:v>56.63</c:v>
                </c:pt>
                <c:pt idx="134">
                  <c:v>67.099999999999994</c:v>
                </c:pt>
                <c:pt idx="135">
                  <c:v>69.47</c:v>
                </c:pt>
                <c:pt idx="136">
                  <c:v>64.319999999999993</c:v>
                </c:pt>
                <c:pt idx="137">
                  <c:v>53.78</c:v>
                </c:pt>
                <c:pt idx="138">
                  <c:v>38.01</c:v>
                </c:pt>
                <c:pt idx="139">
                  <c:v>67.260000000000005</c:v>
                </c:pt>
                <c:pt idx="140">
                  <c:v>66.75</c:v>
                </c:pt>
                <c:pt idx="141">
                  <c:v>67.63</c:v>
                </c:pt>
                <c:pt idx="142">
                  <c:v>61.22</c:v>
                </c:pt>
                <c:pt idx="143">
                  <c:v>64.78</c:v>
                </c:pt>
                <c:pt idx="144">
                  <c:v>58.43</c:v>
                </c:pt>
                <c:pt idx="145">
                  <c:v>39.5</c:v>
                </c:pt>
                <c:pt idx="146">
                  <c:v>60.82</c:v>
                </c:pt>
                <c:pt idx="147">
                  <c:v>61.49</c:v>
                </c:pt>
                <c:pt idx="148">
                  <c:v>63.03</c:v>
                </c:pt>
                <c:pt idx="149">
                  <c:v>71.33</c:v>
                </c:pt>
                <c:pt idx="150">
                  <c:v>65.34</c:v>
                </c:pt>
                <c:pt idx="151">
                  <c:v>54.37</c:v>
                </c:pt>
                <c:pt idx="152">
                  <c:v>42.46</c:v>
                </c:pt>
                <c:pt idx="153">
                  <c:v>73.459999999999994</c:v>
                </c:pt>
                <c:pt idx="154">
                  <c:v>90.06</c:v>
                </c:pt>
                <c:pt idx="155">
                  <c:v>94.38</c:v>
                </c:pt>
                <c:pt idx="156">
                  <c:v>77.569999999999993</c:v>
                </c:pt>
                <c:pt idx="157">
                  <c:v>78.16</c:v>
                </c:pt>
                <c:pt idx="158">
                  <c:v>67.819999999999993</c:v>
                </c:pt>
                <c:pt idx="159">
                  <c:v>48.79</c:v>
                </c:pt>
                <c:pt idx="160">
                  <c:v>84.99</c:v>
                </c:pt>
                <c:pt idx="161">
                  <c:v>78.23</c:v>
                </c:pt>
                <c:pt idx="162">
                  <c:v>75.260000000000005</c:v>
                </c:pt>
                <c:pt idx="163">
                  <c:v>83.12</c:v>
                </c:pt>
                <c:pt idx="164">
                  <c:v>68.84</c:v>
                </c:pt>
                <c:pt idx="165">
                  <c:v>57.37</c:v>
                </c:pt>
                <c:pt idx="166">
                  <c:v>47.92</c:v>
                </c:pt>
                <c:pt idx="167">
                  <c:v>81.63</c:v>
                </c:pt>
                <c:pt idx="168">
                  <c:v>78.27</c:v>
                </c:pt>
                <c:pt idx="169">
                  <c:v>73.05</c:v>
                </c:pt>
                <c:pt idx="170">
                  <c:v>72.17</c:v>
                </c:pt>
                <c:pt idx="171">
                  <c:v>71.14</c:v>
                </c:pt>
                <c:pt idx="172">
                  <c:v>66.37</c:v>
                </c:pt>
                <c:pt idx="173">
                  <c:v>53.91</c:v>
                </c:pt>
                <c:pt idx="174">
                  <c:v>75.319999999999993</c:v>
                </c:pt>
                <c:pt idx="175">
                  <c:v>93.87</c:v>
                </c:pt>
                <c:pt idx="176">
                  <c:v>92.15</c:v>
                </c:pt>
                <c:pt idx="177">
                  <c:v>91.89</c:v>
                </c:pt>
                <c:pt idx="178">
                  <c:v>78.19</c:v>
                </c:pt>
                <c:pt idx="179">
                  <c:v>58.44</c:v>
                </c:pt>
                <c:pt idx="180">
                  <c:v>53.12</c:v>
                </c:pt>
                <c:pt idx="181">
                  <c:v>89.19</c:v>
                </c:pt>
                <c:pt idx="182">
                  <c:v>83.02</c:v>
                </c:pt>
                <c:pt idx="183">
                  <c:v>95.44</c:v>
                </c:pt>
                <c:pt idx="184">
                  <c:v>102.22</c:v>
                </c:pt>
                <c:pt idx="185">
                  <c:v>75.61</c:v>
                </c:pt>
                <c:pt idx="186">
                  <c:v>64.94</c:v>
                </c:pt>
                <c:pt idx="187">
                  <c:v>47.56</c:v>
                </c:pt>
                <c:pt idx="188">
                  <c:v>76.290000000000006</c:v>
                </c:pt>
                <c:pt idx="189">
                  <c:v>69.7</c:v>
                </c:pt>
                <c:pt idx="190">
                  <c:v>75.22</c:v>
                </c:pt>
                <c:pt idx="191">
                  <c:v>79.3</c:v>
                </c:pt>
                <c:pt idx="192">
                  <c:v>82.54</c:v>
                </c:pt>
                <c:pt idx="193">
                  <c:v>69.44</c:v>
                </c:pt>
                <c:pt idx="194">
                  <c:v>55.18</c:v>
                </c:pt>
                <c:pt idx="195">
                  <c:v>71.27</c:v>
                </c:pt>
                <c:pt idx="196">
                  <c:v>71.400000000000006</c:v>
                </c:pt>
                <c:pt idx="197">
                  <c:v>71.400000000000006</c:v>
                </c:pt>
                <c:pt idx="198">
                  <c:v>77.790000000000006</c:v>
                </c:pt>
                <c:pt idx="199">
                  <c:v>73.88</c:v>
                </c:pt>
                <c:pt idx="200">
                  <c:v>57.46</c:v>
                </c:pt>
                <c:pt idx="201">
                  <c:v>31.32</c:v>
                </c:pt>
                <c:pt idx="202">
                  <c:v>56.73</c:v>
                </c:pt>
                <c:pt idx="203">
                  <c:v>65.680000000000007</c:v>
                </c:pt>
                <c:pt idx="204">
                  <c:v>65.55</c:v>
                </c:pt>
                <c:pt idx="205">
                  <c:v>70.319999999999993</c:v>
                </c:pt>
                <c:pt idx="206">
                  <c:v>69.849999999999994</c:v>
                </c:pt>
                <c:pt idx="207">
                  <c:v>64.3</c:v>
                </c:pt>
                <c:pt idx="208">
                  <c:v>47.04</c:v>
                </c:pt>
                <c:pt idx="209">
                  <c:v>70.06</c:v>
                </c:pt>
                <c:pt idx="210">
                  <c:v>74.75</c:v>
                </c:pt>
                <c:pt idx="211">
                  <c:v>77.05</c:v>
                </c:pt>
                <c:pt idx="212">
                  <c:v>75.959999999999994</c:v>
                </c:pt>
                <c:pt idx="213">
                  <c:v>67.31</c:v>
                </c:pt>
                <c:pt idx="214">
                  <c:v>61.85</c:v>
                </c:pt>
                <c:pt idx="215">
                  <c:v>34.07</c:v>
                </c:pt>
                <c:pt idx="216">
                  <c:v>54.83</c:v>
                </c:pt>
                <c:pt idx="217">
                  <c:v>54.38</c:v>
                </c:pt>
                <c:pt idx="218">
                  <c:v>68.19</c:v>
                </c:pt>
                <c:pt idx="219">
                  <c:v>60.51</c:v>
                </c:pt>
                <c:pt idx="220">
                  <c:v>60.68</c:v>
                </c:pt>
                <c:pt idx="221">
                  <c:v>50.61</c:v>
                </c:pt>
                <c:pt idx="222">
                  <c:v>35.18</c:v>
                </c:pt>
                <c:pt idx="223">
                  <c:v>60.7</c:v>
                </c:pt>
                <c:pt idx="224">
                  <c:v>63.18</c:v>
                </c:pt>
                <c:pt idx="225">
                  <c:v>47.43</c:v>
                </c:pt>
                <c:pt idx="226">
                  <c:v>59.25</c:v>
                </c:pt>
                <c:pt idx="227">
                  <c:v>62.9</c:v>
                </c:pt>
                <c:pt idx="228">
                  <c:v>48.53</c:v>
                </c:pt>
                <c:pt idx="229">
                  <c:v>31.84</c:v>
                </c:pt>
                <c:pt idx="230">
                  <c:v>59.54</c:v>
                </c:pt>
                <c:pt idx="231">
                  <c:v>61.51</c:v>
                </c:pt>
                <c:pt idx="232">
                  <c:v>61.92</c:v>
                </c:pt>
                <c:pt idx="233">
                  <c:v>70.33</c:v>
                </c:pt>
                <c:pt idx="234">
                  <c:v>72.67</c:v>
                </c:pt>
                <c:pt idx="235">
                  <c:v>66.62</c:v>
                </c:pt>
                <c:pt idx="236">
                  <c:v>46.04</c:v>
                </c:pt>
                <c:pt idx="237">
                  <c:v>76.349999999999994</c:v>
                </c:pt>
                <c:pt idx="238">
                  <c:v>79.650000000000006</c:v>
                </c:pt>
                <c:pt idx="239">
                  <c:v>83.5</c:v>
                </c:pt>
                <c:pt idx="240">
                  <c:v>86.31</c:v>
                </c:pt>
                <c:pt idx="241">
                  <c:v>86.68</c:v>
                </c:pt>
                <c:pt idx="242">
                  <c:v>80.42</c:v>
                </c:pt>
                <c:pt idx="243">
                  <c:v>61.48</c:v>
                </c:pt>
                <c:pt idx="244">
                  <c:v>88.71</c:v>
                </c:pt>
                <c:pt idx="245">
                  <c:v>87.59</c:v>
                </c:pt>
                <c:pt idx="246">
                  <c:v>92.57</c:v>
                </c:pt>
                <c:pt idx="247">
                  <c:v>97.46</c:v>
                </c:pt>
                <c:pt idx="248">
                  <c:v>96.07</c:v>
                </c:pt>
                <c:pt idx="249">
                  <c:v>63.07</c:v>
                </c:pt>
                <c:pt idx="250">
                  <c:v>66.650000000000006</c:v>
                </c:pt>
                <c:pt idx="251">
                  <c:v>97.18</c:v>
                </c:pt>
                <c:pt idx="252">
                  <c:v>91.88</c:v>
                </c:pt>
                <c:pt idx="253">
                  <c:v>102.79</c:v>
                </c:pt>
                <c:pt idx="254">
                  <c:v>96.99</c:v>
                </c:pt>
                <c:pt idx="255">
                  <c:v>84.24</c:v>
                </c:pt>
                <c:pt idx="256">
                  <c:v>68.64</c:v>
                </c:pt>
                <c:pt idx="257">
                  <c:v>62.21</c:v>
                </c:pt>
                <c:pt idx="258">
                  <c:v>95.19</c:v>
                </c:pt>
                <c:pt idx="259">
                  <c:v>105.42</c:v>
                </c:pt>
                <c:pt idx="260">
                  <c:v>89.11</c:v>
                </c:pt>
                <c:pt idx="261">
                  <c:v>96.53</c:v>
                </c:pt>
                <c:pt idx="262">
                  <c:v>94.71</c:v>
                </c:pt>
                <c:pt idx="263">
                  <c:v>71.63</c:v>
                </c:pt>
                <c:pt idx="264">
                  <c:v>61.15</c:v>
                </c:pt>
                <c:pt idx="265">
                  <c:v>93.44</c:v>
                </c:pt>
                <c:pt idx="266">
                  <c:v>100.43</c:v>
                </c:pt>
                <c:pt idx="267">
                  <c:v>108.92</c:v>
                </c:pt>
                <c:pt idx="268">
                  <c:v>97.85</c:v>
                </c:pt>
                <c:pt idx="269">
                  <c:v>94.52</c:v>
                </c:pt>
                <c:pt idx="270">
                  <c:v>82.82</c:v>
                </c:pt>
                <c:pt idx="271">
                  <c:v>67.930000000000007</c:v>
                </c:pt>
                <c:pt idx="272">
                  <c:v>101.65</c:v>
                </c:pt>
                <c:pt idx="273">
                  <c:v>91.57</c:v>
                </c:pt>
                <c:pt idx="274">
                  <c:v>81.58</c:v>
                </c:pt>
                <c:pt idx="275">
                  <c:v>85.67</c:v>
                </c:pt>
                <c:pt idx="276">
                  <c:v>71.37</c:v>
                </c:pt>
                <c:pt idx="277">
                  <c:v>65.2</c:v>
                </c:pt>
                <c:pt idx="278">
                  <c:v>43.9</c:v>
                </c:pt>
                <c:pt idx="279">
                  <c:v>131.4</c:v>
                </c:pt>
                <c:pt idx="280">
                  <c:v>102.45</c:v>
                </c:pt>
                <c:pt idx="281">
                  <c:v>117.35</c:v>
                </c:pt>
                <c:pt idx="282">
                  <c:v>111.88</c:v>
                </c:pt>
                <c:pt idx="283">
                  <c:v>99.92</c:v>
                </c:pt>
                <c:pt idx="284">
                  <c:v>67.34</c:v>
                </c:pt>
                <c:pt idx="285">
                  <c:v>67.25</c:v>
                </c:pt>
                <c:pt idx="286">
                  <c:v>91.98</c:v>
                </c:pt>
                <c:pt idx="287">
                  <c:v>102.15</c:v>
                </c:pt>
                <c:pt idx="288">
                  <c:v>88.59</c:v>
                </c:pt>
                <c:pt idx="289">
                  <c:v>88.77</c:v>
                </c:pt>
                <c:pt idx="290">
                  <c:v>76.14</c:v>
                </c:pt>
                <c:pt idx="291">
                  <c:v>68.099999999999994</c:v>
                </c:pt>
                <c:pt idx="292">
                  <c:v>58.58</c:v>
                </c:pt>
                <c:pt idx="293">
                  <c:v>73.87</c:v>
                </c:pt>
                <c:pt idx="294">
                  <c:v>84.33</c:v>
                </c:pt>
                <c:pt idx="295">
                  <c:v>99.85</c:v>
                </c:pt>
                <c:pt idx="296">
                  <c:v>91.38</c:v>
                </c:pt>
                <c:pt idx="297">
                  <c:v>85.64</c:v>
                </c:pt>
                <c:pt idx="298">
                  <c:v>70.09</c:v>
                </c:pt>
                <c:pt idx="299">
                  <c:v>49.65</c:v>
                </c:pt>
                <c:pt idx="300">
                  <c:v>102.32</c:v>
                </c:pt>
                <c:pt idx="301">
                  <c:v>96.42</c:v>
                </c:pt>
                <c:pt idx="302">
                  <c:v>97.84</c:v>
                </c:pt>
                <c:pt idx="303">
                  <c:v>97.62</c:v>
                </c:pt>
                <c:pt idx="304">
                  <c:v>85.58</c:v>
                </c:pt>
                <c:pt idx="305">
                  <c:v>54.08</c:v>
                </c:pt>
                <c:pt idx="306">
                  <c:v>47.41</c:v>
                </c:pt>
                <c:pt idx="307">
                  <c:v>83.73</c:v>
                </c:pt>
                <c:pt idx="308">
                  <c:v>83.07</c:v>
                </c:pt>
                <c:pt idx="309">
                  <c:v>73.849999999999994</c:v>
                </c:pt>
                <c:pt idx="310">
                  <c:v>83.57</c:v>
                </c:pt>
                <c:pt idx="311">
                  <c:v>77.39</c:v>
                </c:pt>
                <c:pt idx="312">
                  <c:v>60.18</c:v>
                </c:pt>
                <c:pt idx="313">
                  <c:v>38.83</c:v>
                </c:pt>
                <c:pt idx="314">
                  <c:v>50.61</c:v>
                </c:pt>
                <c:pt idx="315">
                  <c:v>56.35</c:v>
                </c:pt>
                <c:pt idx="316">
                  <c:v>71.11</c:v>
                </c:pt>
                <c:pt idx="317">
                  <c:v>77.86</c:v>
                </c:pt>
                <c:pt idx="318">
                  <c:v>66.819999999999993</c:v>
                </c:pt>
                <c:pt idx="319">
                  <c:v>51.61</c:v>
                </c:pt>
                <c:pt idx="320">
                  <c:v>30.46</c:v>
                </c:pt>
                <c:pt idx="321">
                  <c:v>69.209999999999994</c:v>
                </c:pt>
                <c:pt idx="322">
                  <c:v>59.35</c:v>
                </c:pt>
                <c:pt idx="323">
                  <c:v>59.56</c:v>
                </c:pt>
                <c:pt idx="324">
                  <c:v>56.97</c:v>
                </c:pt>
                <c:pt idx="325">
                  <c:v>57.62</c:v>
                </c:pt>
                <c:pt idx="326">
                  <c:v>41.71</c:v>
                </c:pt>
                <c:pt idx="327">
                  <c:v>36.15</c:v>
                </c:pt>
                <c:pt idx="328">
                  <c:v>95.2</c:v>
                </c:pt>
                <c:pt idx="329">
                  <c:v>104.91</c:v>
                </c:pt>
                <c:pt idx="330">
                  <c:v>70.48</c:v>
                </c:pt>
                <c:pt idx="331">
                  <c:v>70.849999999999994</c:v>
                </c:pt>
                <c:pt idx="332">
                  <c:v>73.260000000000005</c:v>
                </c:pt>
                <c:pt idx="333">
                  <c:v>58.75</c:v>
                </c:pt>
                <c:pt idx="334">
                  <c:v>50.59</c:v>
                </c:pt>
                <c:pt idx="335">
                  <c:v>70.819999999999993</c:v>
                </c:pt>
                <c:pt idx="336">
                  <c:v>71.05</c:v>
                </c:pt>
                <c:pt idx="337">
                  <c:v>66.17</c:v>
                </c:pt>
                <c:pt idx="338">
                  <c:v>68.290000000000006</c:v>
                </c:pt>
                <c:pt idx="339">
                  <c:v>65.13</c:v>
                </c:pt>
                <c:pt idx="340">
                  <c:v>58.89</c:v>
                </c:pt>
                <c:pt idx="341">
                  <c:v>52.19</c:v>
                </c:pt>
                <c:pt idx="342">
                  <c:v>67.430000000000007</c:v>
                </c:pt>
                <c:pt idx="343">
                  <c:v>81.63</c:v>
                </c:pt>
                <c:pt idx="344">
                  <c:v>78.91</c:v>
                </c:pt>
                <c:pt idx="345">
                  <c:v>86.64</c:v>
                </c:pt>
                <c:pt idx="346">
                  <c:v>70.959999999999994</c:v>
                </c:pt>
                <c:pt idx="347">
                  <c:v>42.33</c:v>
                </c:pt>
                <c:pt idx="348">
                  <c:v>34.58</c:v>
                </c:pt>
                <c:pt idx="349">
                  <c:v>69.53</c:v>
                </c:pt>
                <c:pt idx="350">
                  <c:v>69.11</c:v>
                </c:pt>
                <c:pt idx="351">
                  <c:v>68.17</c:v>
                </c:pt>
                <c:pt idx="352">
                  <c:v>59.08</c:v>
                </c:pt>
                <c:pt idx="353">
                  <c:v>52.69</c:v>
                </c:pt>
                <c:pt idx="354">
                  <c:v>38.9</c:v>
                </c:pt>
                <c:pt idx="355">
                  <c:v>33.75</c:v>
                </c:pt>
                <c:pt idx="356">
                  <c:v>22.7</c:v>
                </c:pt>
                <c:pt idx="357">
                  <c:v>43.41</c:v>
                </c:pt>
                <c:pt idx="358">
                  <c:v>29.89</c:v>
                </c:pt>
                <c:pt idx="359">
                  <c:v>24.25</c:v>
                </c:pt>
                <c:pt idx="360">
                  <c:v>31.34</c:v>
                </c:pt>
                <c:pt idx="361">
                  <c:v>48.13</c:v>
                </c:pt>
                <c:pt idx="362">
                  <c:v>40.729999999999997</c:v>
                </c:pt>
                <c:pt idx="363">
                  <c:v>51.08</c:v>
                </c:pt>
                <c:pt idx="364">
                  <c:v>51.91</c:v>
                </c:pt>
                <c:pt idx="365">
                  <c:v>41.38</c:v>
                </c:pt>
                <c:pt idx="366">
                  <c:v>41.96</c:v>
                </c:pt>
                <c:pt idx="367">
                  <c:v>53.74</c:v>
                </c:pt>
                <c:pt idx="368">
                  <c:v>45.25</c:v>
                </c:pt>
                <c:pt idx="369">
                  <c:v>45.04</c:v>
                </c:pt>
                <c:pt idx="370">
                  <c:v>52.31</c:v>
                </c:pt>
                <c:pt idx="371">
                  <c:v>50.3</c:v>
                </c:pt>
                <c:pt idx="372">
                  <c:v>64.739999999999995</c:v>
                </c:pt>
                <c:pt idx="373">
                  <c:v>79.45</c:v>
                </c:pt>
                <c:pt idx="374">
                  <c:v>75.03</c:v>
                </c:pt>
                <c:pt idx="375">
                  <c:v>50.36</c:v>
                </c:pt>
                <c:pt idx="376">
                  <c:v>39.200000000000003</c:v>
                </c:pt>
                <c:pt idx="377">
                  <c:v>57.79</c:v>
                </c:pt>
                <c:pt idx="378">
                  <c:v>74.180000000000007</c:v>
                </c:pt>
                <c:pt idx="379">
                  <c:v>76.55</c:v>
                </c:pt>
                <c:pt idx="380">
                  <c:v>86.36</c:v>
                </c:pt>
                <c:pt idx="381">
                  <c:v>67.95</c:v>
                </c:pt>
                <c:pt idx="382">
                  <c:v>51.47</c:v>
                </c:pt>
                <c:pt idx="383">
                  <c:v>36.39</c:v>
                </c:pt>
                <c:pt idx="384">
                  <c:v>56.39</c:v>
                </c:pt>
                <c:pt idx="385">
                  <c:v>58.83</c:v>
                </c:pt>
                <c:pt idx="386">
                  <c:v>60.53</c:v>
                </c:pt>
                <c:pt idx="387">
                  <c:v>55.04</c:v>
                </c:pt>
                <c:pt idx="388">
                  <c:v>49.46</c:v>
                </c:pt>
                <c:pt idx="389">
                  <c:v>39.46</c:v>
                </c:pt>
                <c:pt idx="390">
                  <c:v>42.31</c:v>
                </c:pt>
                <c:pt idx="391">
                  <c:v>61.56</c:v>
                </c:pt>
                <c:pt idx="392">
                  <c:v>62.52</c:v>
                </c:pt>
                <c:pt idx="393">
                  <c:v>62.13</c:v>
                </c:pt>
                <c:pt idx="394">
                  <c:v>69.900000000000006</c:v>
                </c:pt>
                <c:pt idx="395">
                  <c:v>60.33</c:v>
                </c:pt>
                <c:pt idx="396">
                  <c:v>44.2</c:v>
                </c:pt>
                <c:pt idx="397">
                  <c:v>37.33</c:v>
                </c:pt>
                <c:pt idx="398">
                  <c:v>49.47</c:v>
                </c:pt>
                <c:pt idx="399">
                  <c:v>60.44</c:v>
                </c:pt>
                <c:pt idx="400">
                  <c:v>64.03</c:v>
                </c:pt>
                <c:pt idx="401">
                  <c:v>57.35</c:v>
                </c:pt>
                <c:pt idx="402">
                  <c:v>55.5</c:v>
                </c:pt>
                <c:pt idx="403">
                  <c:v>45.8</c:v>
                </c:pt>
                <c:pt idx="404">
                  <c:v>39.4</c:v>
                </c:pt>
                <c:pt idx="405">
                  <c:v>61.47</c:v>
                </c:pt>
                <c:pt idx="406">
                  <c:v>46.29</c:v>
                </c:pt>
                <c:pt idx="407">
                  <c:v>49</c:v>
                </c:pt>
                <c:pt idx="408">
                  <c:v>52.18</c:v>
                </c:pt>
                <c:pt idx="409">
                  <c:v>55.92</c:v>
                </c:pt>
                <c:pt idx="410">
                  <c:v>42.37</c:v>
                </c:pt>
                <c:pt idx="411">
                  <c:v>34.270000000000003</c:v>
                </c:pt>
                <c:pt idx="412">
                  <c:v>65.91</c:v>
                </c:pt>
                <c:pt idx="413">
                  <c:v>52.15</c:v>
                </c:pt>
                <c:pt idx="414">
                  <c:v>51.86</c:v>
                </c:pt>
                <c:pt idx="415">
                  <c:v>52.27</c:v>
                </c:pt>
                <c:pt idx="416">
                  <c:v>48.54</c:v>
                </c:pt>
                <c:pt idx="417">
                  <c:v>44.63</c:v>
                </c:pt>
                <c:pt idx="418">
                  <c:v>24.98</c:v>
                </c:pt>
                <c:pt idx="419">
                  <c:v>37.01</c:v>
                </c:pt>
                <c:pt idx="420">
                  <c:v>49.31</c:v>
                </c:pt>
                <c:pt idx="421">
                  <c:v>41.88</c:v>
                </c:pt>
                <c:pt idx="422">
                  <c:v>38.04</c:v>
                </c:pt>
                <c:pt idx="423">
                  <c:v>40.9</c:v>
                </c:pt>
                <c:pt idx="424">
                  <c:v>39.74</c:v>
                </c:pt>
                <c:pt idx="425">
                  <c:v>41.04</c:v>
                </c:pt>
                <c:pt idx="426">
                  <c:v>47</c:v>
                </c:pt>
                <c:pt idx="427">
                  <c:v>40.58</c:v>
                </c:pt>
                <c:pt idx="428">
                  <c:v>40.799999999999997</c:v>
                </c:pt>
                <c:pt idx="429">
                  <c:v>44.33</c:v>
                </c:pt>
                <c:pt idx="430">
                  <c:v>40.479999999999997</c:v>
                </c:pt>
                <c:pt idx="431">
                  <c:v>35.76</c:v>
                </c:pt>
                <c:pt idx="432">
                  <c:v>13</c:v>
                </c:pt>
                <c:pt idx="433">
                  <c:v>38.19</c:v>
                </c:pt>
                <c:pt idx="434">
                  <c:v>42.3</c:v>
                </c:pt>
                <c:pt idx="435">
                  <c:v>41.79</c:v>
                </c:pt>
                <c:pt idx="436">
                  <c:v>41.42</c:v>
                </c:pt>
                <c:pt idx="437">
                  <c:v>42.85</c:v>
                </c:pt>
                <c:pt idx="438">
                  <c:v>35.549999999999997</c:v>
                </c:pt>
                <c:pt idx="439">
                  <c:v>27.28</c:v>
                </c:pt>
                <c:pt idx="440">
                  <c:v>38.19</c:v>
                </c:pt>
                <c:pt idx="441">
                  <c:v>37.340000000000003</c:v>
                </c:pt>
                <c:pt idx="442">
                  <c:v>36.82</c:v>
                </c:pt>
                <c:pt idx="443">
                  <c:v>38.200000000000003</c:v>
                </c:pt>
                <c:pt idx="444">
                  <c:v>39.4</c:v>
                </c:pt>
                <c:pt idx="445">
                  <c:v>35.33</c:v>
                </c:pt>
                <c:pt idx="446">
                  <c:v>23.98</c:v>
                </c:pt>
                <c:pt idx="447">
                  <c:v>30.67</c:v>
                </c:pt>
                <c:pt idx="448">
                  <c:v>38.770000000000003</c:v>
                </c:pt>
                <c:pt idx="449">
                  <c:v>40.46</c:v>
                </c:pt>
                <c:pt idx="450">
                  <c:v>40.44</c:v>
                </c:pt>
                <c:pt idx="451">
                  <c:v>35.54</c:v>
                </c:pt>
                <c:pt idx="452">
                  <c:v>34.49</c:v>
                </c:pt>
                <c:pt idx="453">
                  <c:v>30.13</c:v>
                </c:pt>
                <c:pt idx="454">
                  <c:v>41.93</c:v>
                </c:pt>
                <c:pt idx="455">
                  <c:v>38.96</c:v>
                </c:pt>
                <c:pt idx="456">
                  <c:v>40.57</c:v>
                </c:pt>
                <c:pt idx="457">
                  <c:v>38.14</c:v>
                </c:pt>
                <c:pt idx="458">
                  <c:v>37.590000000000003</c:v>
                </c:pt>
                <c:pt idx="459">
                  <c:v>34.549999999999997</c:v>
                </c:pt>
                <c:pt idx="460">
                  <c:v>29.71</c:v>
                </c:pt>
                <c:pt idx="461">
                  <c:v>37.869999999999997</c:v>
                </c:pt>
                <c:pt idx="462">
                  <c:v>31.87</c:v>
                </c:pt>
                <c:pt idx="463">
                  <c:v>35.54</c:v>
                </c:pt>
                <c:pt idx="464">
                  <c:v>34.630000000000003</c:v>
                </c:pt>
                <c:pt idx="465">
                  <c:v>28.88</c:v>
                </c:pt>
                <c:pt idx="466">
                  <c:v>26.7</c:v>
                </c:pt>
                <c:pt idx="467">
                  <c:v>20.98</c:v>
                </c:pt>
                <c:pt idx="468">
                  <c:v>23</c:v>
                </c:pt>
                <c:pt idx="469">
                  <c:v>36.24</c:v>
                </c:pt>
                <c:pt idx="470">
                  <c:v>31.55</c:v>
                </c:pt>
                <c:pt idx="471">
                  <c:v>33.65</c:v>
                </c:pt>
                <c:pt idx="472">
                  <c:v>32.700000000000003</c:v>
                </c:pt>
                <c:pt idx="473">
                  <c:v>23.54</c:v>
                </c:pt>
                <c:pt idx="474">
                  <c:v>18.47</c:v>
                </c:pt>
                <c:pt idx="475">
                  <c:v>38.409999999999997</c:v>
                </c:pt>
                <c:pt idx="476">
                  <c:v>38.78</c:v>
                </c:pt>
                <c:pt idx="477">
                  <c:v>37.26</c:v>
                </c:pt>
                <c:pt idx="478">
                  <c:v>39.909999999999997</c:v>
                </c:pt>
                <c:pt idx="479">
                  <c:v>38.299999999999997</c:v>
                </c:pt>
                <c:pt idx="480">
                  <c:v>29.87</c:v>
                </c:pt>
                <c:pt idx="481">
                  <c:v>22.02</c:v>
                </c:pt>
                <c:pt idx="482">
                  <c:v>33.85</c:v>
                </c:pt>
                <c:pt idx="483">
                  <c:v>39.64</c:v>
                </c:pt>
                <c:pt idx="484">
                  <c:v>40.229999999999997</c:v>
                </c:pt>
                <c:pt idx="485">
                  <c:v>37.18</c:v>
                </c:pt>
                <c:pt idx="486">
                  <c:v>24.04</c:v>
                </c:pt>
                <c:pt idx="487">
                  <c:v>33.130000000000003</c:v>
                </c:pt>
                <c:pt idx="488">
                  <c:v>25.09</c:v>
                </c:pt>
                <c:pt idx="489">
                  <c:v>17.059999999999999</c:v>
                </c:pt>
                <c:pt idx="490">
                  <c:v>36.72</c:v>
                </c:pt>
                <c:pt idx="491">
                  <c:v>36.46</c:v>
                </c:pt>
                <c:pt idx="492">
                  <c:v>37.229999999999997</c:v>
                </c:pt>
                <c:pt idx="493">
                  <c:v>34.880000000000003</c:v>
                </c:pt>
                <c:pt idx="494">
                  <c:v>28.55</c:v>
                </c:pt>
                <c:pt idx="495">
                  <c:v>25.61</c:v>
                </c:pt>
                <c:pt idx="496">
                  <c:v>33</c:v>
                </c:pt>
                <c:pt idx="497">
                  <c:v>33.14</c:v>
                </c:pt>
                <c:pt idx="498">
                  <c:v>35.229999999999997</c:v>
                </c:pt>
                <c:pt idx="499">
                  <c:v>32.340000000000003</c:v>
                </c:pt>
                <c:pt idx="500">
                  <c:v>30.97</c:v>
                </c:pt>
                <c:pt idx="501">
                  <c:v>31.12</c:v>
                </c:pt>
                <c:pt idx="502">
                  <c:v>17.46</c:v>
                </c:pt>
                <c:pt idx="503">
                  <c:v>36.75</c:v>
                </c:pt>
                <c:pt idx="504">
                  <c:v>41.05</c:v>
                </c:pt>
                <c:pt idx="505">
                  <c:v>38.49</c:v>
                </c:pt>
                <c:pt idx="506">
                  <c:v>35.08</c:v>
                </c:pt>
                <c:pt idx="507">
                  <c:v>29.03</c:v>
                </c:pt>
                <c:pt idx="508">
                  <c:v>27.83</c:v>
                </c:pt>
                <c:pt idx="509">
                  <c:v>28.46</c:v>
                </c:pt>
                <c:pt idx="510">
                  <c:v>38.75</c:v>
                </c:pt>
                <c:pt idx="511">
                  <c:v>30.46</c:v>
                </c:pt>
                <c:pt idx="512">
                  <c:v>32.57</c:v>
                </c:pt>
                <c:pt idx="513">
                  <c:v>34.39</c:v>
                </c:pt>
                <c:pt idx="514">
                  <c:v>31.57</c:v>
                </c:pt>
                <c:pt idx="515">
                  <c:v>25.56</c:v>
                </c:pt>
                <c:pt idx="516">
                  <c:v>16.86</c:v>
                </c:pt>
                <c:pt idx="517">
                  <c:v>18.329999999999998</c:v>
                </c:pt>
                <c:pt idx="518">
                  <c:v>33.450000000000003</c:v>
                </c:pt>
                <c:pt idx="519">
                  <c:v>30.31</c:v>
                </c:pt>
                <c:pt idx="520">
                  <c:v>37.25</c:v>
                </c:pt>
                <c:pt idx="521">
                  <c:v>38.32</c:v>
                </c:pt>
                <c:pt idx="522">
                  <c:v>34.53</c:v>
                </c:pt>
                <c:pt idx="523">
                  <c:v>27.27</c:v>
                </c:pt>
                <c:pt idx="524">
                  <c:v>38.67</c:v>
                </c:pt>
                <c:pt idx="525">
                  <c:v>39.39</c:v>
                </c:pt>
                <c:pt idx="526">
                  <c:v>36.799999999999997</c:v>
                </c:pt>
                <c:pt idx="527">
                  <c:v>30.94</c:v>
                </c:pt>
                <c:pt idx="528">
                  <c:v>26.66</c:v>
                </c:pt>
                <c:pt idx="529">
                  <c:v>28.64</c:v>
                </c:pt>
                <c:pt idx="530">
                  <c:v>27.84</c:v>
                </c:pt>
                <c:pt idx="531">
                  <c:v>41.06</c:v>
                </c:pt>
                <c:pt idx="532">
                  <c:v>40.130000000000003</c:v>
                </c:pt>
                <c:pt idx="533">
                  <c:v>35.799999999999997</c:v>
                </c:pt>
                <c:pt idx="534">
                  <c:v>37.75</c:v>
                </c:pt>
                <c:pt idx="535">
                  <c:v>34.6</c:v>
                </c:pt>
                <c:pt idx="536">
                  <c:v>28.46</c:v>
                </c:pt>
                <c:pt idx="537">
                  <c:v>23.76</c:v>
                </c:pt>
                <c:pt idx="538">
                  <c:v>32.64</c:v>
                </c:pt>
                <c:pt idx="539">
                  <c:v>33.85</c:v>
                </c:pt>
                <c:pt idx="540">
                  <c:v>33.869999999999997</c:v>
                </c:pt>
                <c:pt idx="541">
                  <c:v>37.11</c:v>
                </c:pt>
                <c:pt idx="542">
                  <c:v>36.049999999999997</c:v>
                </c:pt>
                <c:pt idx="543">
                  <c:v>31.15</c:v>
                </c:pt>
                <c:pt idx="544">
                  <c:v>21.9</c:v>
                </c:pt>
                <c:pt idx="545">
                  <c:v>38.020000000000003</c:v>
                </c:pt>
                <c:pt idx="546">
                  <c:v>41.88</c:v>
                </c:pt>
                <c:pt idx="547">
                  <c:v>47.69</c:v>
                </c:pt>
                <c:pt idx="548">
                  <c:v>46.9</c:v>
                </c:pt>
                <c:pt idx="549">
                  <c:v>44.19</c:v>
                </c:pt>
                <c:pt idx="550">
                  <c:v>36.19</c:v>
                </c:pt>
                <c:pt idx="551">
                  <c:v>31.78</c:v>
                </c:pt>
                <c:pt idx="552">
                  <c:v>44.18</c:v>
                </c:pt>
                <c:pt idx="553">
                  <c:v>36.99</c:v>
                </c:pt>
                <c:pt idx="554">
                  <c:v>38.840000000000003</c:v>
                </c:pt>
                <c:pt idx="555">
                  <c:v>35.979999999999997</c:v>
                </c:pt>
                <c:pt idx="556">
                  <c:v>32.85</c:v>
                </c:pt>
                <c:pt idx="557">
                  <c:v>33.32</c:v>
                </c:pt>
                <c:pt idx="558">
                  <c:v>31.57</c:v>
                </c:pt>
                <c:pt idx="559">
                  <c:v>39.15</c:v>
                </c:pt>
                <c:pt idx="560">
                  <c:v>37.26</c:v>
                </c:pt>
                <c:pt idx="561">
                  <c:v>41.22</c:v>
                </c:pt>
                <c:pt idx="562">
                  <c:v>40.11</c:v>
                </c:pt>
                <c:pt idx="563">
                  <c:v>35.380000000000003</c:v>
                </c:pt>
                <c:pt idx="564">
                  <c:v>31.29</c:v>
                </c:pt>
                <c:pt idx="565">
                  <c:v>22.37</c:v>
                </c:pt>
                <c:pt idx="566">
                  <c:v>35.01</c:v>
                </c:pt>
                <c:pt idx="567">
                  <c:v>36.4</c:v>
                </c:pt>
                <c:pt idx="568">
                  <c:v>36.01</c:v>
                </c:pt>
                <c:pt idx="569">
                  <c:v>38.22</c:v>
                </c:pt>
                <c:pt idx="570">
                  <c:v>36.11</c:v>
                </c:pt>
                <c:pt idx="571">
                  <c:v>19.95</c:v>
                </c:pt>
                <c:pt idx="572">
                  <c:v>27.83</c:v>
                </c:pt>
                <c:pt idx="573">
                  <c:v>35.32</c:v>
                </c:pt>
                <c:pt idx="574">
                  <c:v>34.36</c:v>
                </c:pt>
                <c:pt idx="575">
                  <c:v>33.22</c:v>
                </c:pt>
                <c:pt idx="576">
                  <c:v>27.29</c:v>
                </c:pt>
                <c:pt idx="577">
                  <c:v>34.28</c:v>
                </c:pt>
                <c:pt idx="578">
                  <c:v>31.85</c:v>
                </c:pt>
                <c:pt idx="579">
                  <c:v>24.74</c:v>
                </c:pt>
                <c:pt idx="580">
                  <c:v>32.79</c:v>
                </c:pt>
                <c:pt idx="581">
                  <c:v>35.840000000000003</c:v>
                </c:pt>
                <c:pt idx="582">
                  <c:v>32.68</c:v>
                </c:pt>
                <c:pt idx="583">
                  <c:v>36.619999999999997</c:v>
                </c:pt>
                <c:pt idx="584">
                  <c:v>34.19</c:v>
                </c:pt>
                <c:pt idx="585">
                  <c:v>28.46</c:v>
                </c:pt>
                <c:pt idx="586">
                  <c:v>27.98</c:v>
                </c:pt>
                <c:pt idx="587">
                  <c:v>36.020000000000003</c:v>
                </c:pt>
                <c:pt idx="588">
                  <c:v>34.07</c:v>
                </c:pt>
                <c:pt idx="589">
                  <c:v>31.99</c:v>
                </c:pt>
                <c:pt idx="590">
                  <c:v>33.35</c:v>
                </c:pt>
                <c:pt idx="591">
                  <c:v>36.71</c:v>
                </c:pt>
                <c:pt idx="592">
                  <c:v>30.26</c:v>
                </c:pt>
                <c:pt idx="593">
                  <c:v>22.22</c:v>
                </c:pt>
                <c:pt idx="594">
                  <c:v>36.26</c:v>
                </c:pt>
                <c:pt idx="595">
                  <c:v>40.869999999999997</c:v>
                </c:pt>
                <c:pt idx="596">
                  <c:v>39.450000000000003</c:v>
                </c:pt>
                <c:pt idx="597">
                  <c:v>38.21</c:v>
                </c:pt>
                <c:pt idx="598">
                  <c:v>44.71</c:v>
                </c:pt>
                <c:pt idx="599">
                  <c:v>39.81</c:v>
                </c:pt>
                <c:pt idx="600">
                  <c:v>34.94</c:v>
                </c:pt>
                <c:pt idx="601">
                  <c:v>45.18</c:v>
                </c:pt>
                <c:pt idx="602">
                  <c:v>51.77</c:v>
                </c:pt>
                <c:pt idx="603">
                  <c:v>49.83</c:v>
                </c:pt>
                <c:pt idx="604">
                  <c:v>53.59</c:v>
                </c:pt>
                <c:pt idx="605">
                  <c:v>41.53</c:v>
                </c:pt>
                <c:pt idx="606">
                  <c:v>34.85</c:v>
                </c:pt>
                <c:pt idx="607">
                  <c:v>15.3</c:v>
                </c:pt>
                <c:pt idx="608">
                  <c:v>42.17</c:v>
                </c:pt>
                <c:pt idx="609">
                  <c:v>37.25</c:v>
                </c:pt>
                <c:pt idx="610">
                  <c:v>40.92</c:v>
                </c:pt>
                <c:pt idx="611">
                  <c:v>37.92</c:v>
                </c:pt>
                <c:pt idx="612">
                  <c:v>30.56</c:v>
                </c:pt>
                <c:pt idx="613">
                  <c:v>23.67</c:v>
                </c:pt>
                <c:pt idx="614">
                  <c:v>21.91</c:v>
                </c:pt>
                <c:pt idx="615">
                  <c:v>38.979999999999997</c:v>
                </c:pt>
                <c:pt idx="616">
                  <c:v>46.71</c:v>
                </c:pt>
                <c:pt idx="617">
                  <c:v>45.31</c:v>
                </c:pt>
                <c:pt idx="618">
                  <c:v>43.34</c:v>
                </c:pt>
                <c:pt idx="619">
                  <c:v>40.049999999999997</c:v>
                </c:pt>
                <c:pt idx="620">
                  <c:v>34.56</c:v>
                </c:pt>
                <c:pt idx="621">
                  <c:v>30.93</c:v>
                </c:pt>
                <c:pt idx="622">
                  <c:v>35.93</c:v>
                </c:pt>
                <c:pt idx="623">
                  <c:v>35.43</c:v>
                </c:pt>
                <c:pt idx="624">
                  <c:v>37.520000000000003</c:v>
                </c:pt>
                <c:pt idx="625">
                  <c:v>42.98</c:v>
                </c:pt>
                <c:pt idx="626">
                  <c:v>41.07</c:v>
                </c:pt>
                <c:pt idx="627">
                  <c:v>36.49</c:v>
                </c:pt>
                <c:pt idx="628">
                  <c:v>30.89</c:v>
                </c:pt>
                <c:pt idx="629">
                  <c:v>48.31</c:v>
                </c:pt>
                <c:pt idx="630">
                  <c:v>43.28</c:v>
                </c:pt>
                <c:pt idx="631">
                  <c:v>42.77</c:v>
                </c:pt>
                <c:pt idx="632">
                  <c:v>46.43</c:v>
                </c:pt>
                <c:pt idx="633">
                  <c:v>43.89</c:v>
                </c:pt>
                <c:pt idx="634">
                  <c:v>37.28</c:v>
                </c:pt>
                <c:pt idx="635">
                  <c:v>33.79</c:v>
                </c:pt>
                <c:pt idx="636">
                  <c:v>45.83</c:v>
                </c:pt>
                <c:pt idx="637">
                  <c:v>50.35</c:v>
                </c:pt>
                <c:pt idx="638">
                  <c:v>63.14</c:v>
                </c:pt>
                <c:pt idx="639">
                  <c:v>43.97</c:v>
                </c:pt>
                <c:pt idx="640">
                  <c:v>48.63</c:v>
                </c:pt>
                <c:pt idx="641">
                  <c:v>27.98</c:v>
                </c:pt>
                <c:pt idx="642">
                  <c:v>-11.59</c:v>
                </c:pt>
                <c:pt idx="643">
                  <c:v>52.5</c:v>
                </c:pt>
                <c:pt idx="644">
                  <c:v>61.69</c:v>
                </c:pt>
                <c:pt idx="645">
                  <c:v>55.54</c:v>
                </c:pt>
                <c:pt idx="646">
                  <c:v>53.77</c:v>
                </c:pt>
                <c:pt idx="647">
                  <c:v>48.91</c:v>
                </c:pt>
                <c:pt idx="648">
                  <c:v>37.18</c:v>
                </c:pt>
                <c:pt idx="649">
                  <c:v>32.01</c:v>
                </c:pt>
                <c:pt idx="650">
                  <c:v>38.479999999999997</c:v>
                </c:pt>
                <c:pt idx="651">
                  <c:v>41.51</c:v>
                </c:pt>
                <c:pt idx="652">
                  <c:v>45.5</c:v>
                </c:pt>
                <c:pt idx="653">
                  <c:v>48.12</c:v>
                </c:pt>
                <c:pt idx="654">
                  <c:v>41.89</c:v>
                </c:pt>
                <c:pt idx="655">
                  <c:v>42.49</c:v>
                </c:pt>
                <c:pt idx="656">
                  <c:v>38.619999999999997</c:v>
                </c:pt>
                <c:pt idx="657">
                  <c:v>59.84</c:v>
                </c:pt>
                <c:pt idx="658">
                  <c:v>51.82</c:v>
                </c:pt>
                <c:pt idx="659">
                  <c:v>51.69</c:v>
                </c:pt>
                <c:pt idx="660">
                  <c:v>50.64</c:v>
                </c:pt>
                <c:pt idx="661">
                  <c:v>57.32</c:v>
                </c:pt>
                <c:pt idx="662">
                  <c:v>38.19</c:v>
                </c:pt>
                <c:pt idx="663">
                  <c:v>26.4</c:v>
                </c:pt>
                <c:pt idx="664">
                  <c:v>39.450000000000003</c:v>
                </c:pt>
                <c:pt idx="665">
                  <c:v>57.01</c:v>
                </c:pt>
                <c:pt idx="666">
                  <c:v>56.49</c:v>
                </c:pt>
                <c:pt idx="667">
                  <c:v>59.02</c:v>
                </c:pt>
                <c:pt idx="668">
                  <c:v>43.62</c:v>
                </c:pt>
                <c:pt idx="669">
                  <c:v>41.93</c:v>
                </c:pt>
                <c:pt idx="670">
                  <c:v>35.340000000000003</c:v>
                </c:pt>
                <c:pt idx="671">
                  <c:v>51.69</c:v>
                </c:pt>
                <c:pt idx="672">
                  <c:v>48.19</c:v>
                </c:pt>
                <c:pt idx="673">
                  <c:v>38.04</c:v>
                </c:pt>
                <c:pt idx="674">
                  <c:v>39.29</c:v>
                </c:pt>
                <c:pt idx="675">
                  <c:v>41.91</c:v>
                </c:pt>
                <c:pt idx="676">
                  <c:v>32.840000000000003</c:v>
                </c:pt>
                <c:pt idx="677">
                  <c:v>31.06</c:v>
                </c:pt>
                <c:pt idx="678">
                  <c:v>37.479999999999997</c:v>
                </c:pt>
                <c:pt idx="679">
                  <c:v>48.74</c:v>
                </c:pt>
                <c:pt idx="680">
                  <c:v>41.21</c:v>
                </c:pt>
                <c:pt idx="681">
                  <c:v>46.18</c:v>
                </c:pt>
                <c:pt idx="682">
                  <c:v>39.229999999999997</c:v>
                </c:pt>
                <c:pt idx="683">
                  <c:v>33.43</c:v>
                </c:pt>
                <c:pt idx="684">
                  <c:v>27.47</c:v>
                </c:pt>
                <c:pt idx="685">
                  <c:v>38.950000000000003</c:v>
                </c:pt>
                <c:pt idx="686">
                  <c:v>39.549999999999997</c:v>
                </c:pt>
                <c:pt idx="687">
                  <c:v>33.51</c:v>
                </c:pt>
                <c:pt idx="688">
                  <c:v>35.96</c:v>
                </c:pt>
                <c:pt idx="689">
                  <c:v>33.380000000000003</c:v>
                </c:pt>
                <c:pt idx="690">
                  <c:v>35.97</c:v>
                </c:pt>
                <c:pt idx="691">
                  <c:v>27.66</c:v>
                </c:pt>
                <c:pt idx="692">
                  <c:v>25.97</c:v>
                </c:pt>
                <c:pt idx="693">
                  <c:v>23.08</c:v>
                </c:pt>
                <c:pt idx="694">
                  <c:v>32.369999999999997</c:v>
                </c:pt>
                <c:pt idx="695">
                  <c:v>32.590000000000003</c:v>
                </c:pt>
                <c:pt idx="696">
                  <c:v>32.32</c:v>
                </c:pt>
                <c:pt idx="697">
                  <c:v>27.48</c:v>
                </c:pt>
                <c:pt idx="698">
                  <c:v>24.5</c:v>
                </c:pt>
                <c:pt idx="699">
                  <c:v>42.92</c:v>
                </c:pt>
                <c:pt idx="700">
                  <c:v>39.44</c:v>
                </c:pt>
                <c:pt idx="701">
                  <c:v>42.1</c:v>
                </c:pt>
                <c:pt idx="702">
                  <c:v>34.700000000000003</c:v>
                </c:pt>
                <c:pt idx="703">
                  <c:v>43.83</c:v>
                </c:pt>
                <c:pt idx="704">
                  <c:v>33.549999999999997</c:v>
                </c:pt>
                <c:pt idx="705">
                  <c:v>26.42</c:v>
                </c:pt>
                <c:pt idx="706">
                  <c:v>38.020000000000003</c:v>
                </c:pt>
                <c:pt idx="707">
                  <c:v>38.270000000000003</c:v>
                </c:pt>
                <c:pt idx="708">
                  <c:v>44.75</c:v>
                </c:pt>
                <c:pt idx="709">
                  <c:v>41.28</c:v>
                </c:pt>
                <c:pt idx="710">
                  <c:v>40.630000000000003</c:v>
                </c:pt>
                <c:pt idx="711">
                  <c:v>37.520000000000003</c:v>
                </c:pt>
                <c:pt idx="712">
                  <c:v>33.659999999999997</c:v>
                </c:pt>
                <c:pt idx="713">
                  <c:v>48.43</c:v>
                </c:pt>
                <c:pt idx="714">
                  <c:v>56.39</c:v>
                </c:pt>
                <c:pt idx="715">
                  <c:v>59.71</c:v>
                </c:pt>
                <c:pt idx="716">
                  <c:v>49.11</c:v>
                </c:pt>
                <c:pt idx="717">
                  <c:v>42.81</c:v>
                </c:pt>
                <c:pt idx="718">
                  <c:v>41.82</c:v>
                </c:pt>
                <c:pt idx="719">
                  <c:v>34.520000000000003</c:v>
                </c:pt>
                <c:pt idx="720">
                  <c:v>38.369999999999997</c:v>
                </c:pt>
                <c:pt idx="721">
                  <c:v>40.44</c:v>
                </c:pt>
                <c:pt idx="722">
                  <c:v>39.57</c:v>
                </c:pt>
                <c:pt idx="723">
                  <c:v>34.17</c:v>
                </c:pt>
                <c:pt idx="724">
                  <c:v>7.21</c:v>
                </c:pt>
                <c:pt idx="725">
                  <c:v>-35.57</c:v>
                </c:pt>
                <c:pt idx="726">
                  <c:v>26.01</c:v>
                </c:pt>
                <c:pt idx="727">
                  <c:v>36.01</c:v>
                </c:pt>
                <c:pt idx="728">
                  <c:v>34.56</c:v>
                </c:pt>
                <c:pt idx="729">
                  <c:v>31.55</c:v>
                </c:pt>
                <c:pt idx="730">
                  <c:v>27.26</c:v>
                </c:pt>
                <c:pt idx="731">
                  <c:v>21.05</c:v>
                </c:pt>
                <c:pt idx="732">
                  <c:v>37.549999999999997</c:v>
                </c:pt>
                <c:pt idx="733">
                  <c:v>33.85</c:v>
                </c:pt>
                <c:pt idx="734">
                  <c:v>40.020000000000003</c:v>
                </c:pt>
                <c:pt idx="735">
                  <c:v>43.71</c:v>
                </c:pt>
                <c:pt idx="736">
                  <c:v>44.42</c:v>
                </c:pt>
                <c:pt idx="737">
                  <c:v>50.59</c:v>
                </c:pt>
                <c:pt idx="738">
                  <c:v>46.37</c:v>
                </c:pt>
                <c:pt idx="739">
                  <c:v>36.909999999999997</c:v>
                </c:pt>
                <c:pt idx="740">
                  <c:v>32.700000000000003</c:v>
                </c:pt>
                <c:pt idx="741">
                  <c:v>45.31</c:v>
                </c:pt>
                <c:pt idx="742">
                  <c:v>53.26</c:v>
                </c:pt>
                <c:pt idx="743">
                  <c:v>44.14</c:v>
                </c:pt>
                <c:pt idx="744">
                  <c:v>47.75</c:v>
                </c:pt>
                <c:pt idx="745">
                  <c:v>49.9</c:v>
                </c:pt>
                <c:pt idx="746">
                  <c:v>36.83</c:v>
                </c:pt>
                <c:pt idx="747">
                  <c:v>31.74</c:v>
                </c:pt>
                <c:pt idx="748">
                  <c:v>46.98</c:v>
                </c:pt>
                <c:pt idx="749">
                  <c:v>45.97</c:v>
                </c:pt>
                <c:pt idx="750">
                  <c:v>43.89</c:v>
                </c:pt>
                <c:pt idx="751">
                  <c:v>45.54</c:v>
                </c:pt>
                <c:pt idx="752">
                  <c:v>43.53</c:v>
                </c:pt>
                <c:pt idx="753">
                  <c:v>40.479999999999997</c:v>
                </c:pt>
                <c:pt idx="754">
                  <c:v>36.200000000000003</c:v>
                </c:pt>
                <c:pt idx="755">
                  <c:v>48.08</c:v>
                </c:pt>
                <c:pt idx="756">
                  <c:v>54.07</c:v>
                </c:pt>
                <c:pt idx="757">
                  <c:v>45.9</c:v>
                </c:pt>
                <c:pt idx="758">
                  <c:v>41.09</c:v>
                </c:pt>
                <c:pt idx="759">
                  <c:v>49.18</c:v>
                </c:pt>
                <c:pt idx="760">
                  <c:v>35.89</c:v>
                </c:pt>
                <c:pt idx="761">
                  <c:v>35.49</c:v>
                </c:pt>
                <c:pt idx="762">
                  <c:v>45.58</c:v>
                </c:pt>
                <c:pt idx="763">
                  <c:v>40.75</c:v>
                </c:pt>
                <c:pt idx="764">
                  <c:v>43.61</c:v>
                </c:pt>
                <c:pt idx="765">
                  <c:v>47.99</c:v>
                </c:pt>
                <c:pt idx="766">
                  <c:v>41.63</c:v>
                </c:pt>
                <c:pt idx="767">
                  <c:v>41.58</c:v>
                </c:pt>
                <c:pt idx="768">
                  <c:v>37.82</c:v>
                </c:pt>
                <c:pt idx="769">
                  <c:v>51.61</c:v>
                </c:pt>
                <c:pt idx="770">
                  <c:v>51.34</c:v>
                </c:pt>
                <c:pt idx="771">
                  <c:v>51.4</c:v>
                </c:pt>
                <c:pt idx="772">
                  <c:v>47.66</c:v>
                </c:pt>
                <c:pt idx="773">
                  <c:v>46.12</c:v>
                </c:pt>
                <c:pt idx="774">
                  <c:v>41.39</c:v>
                </c:pt>
                <c:pt idx="775">
                  <c:v>40.56</c:v>
                </c:pt>
                <c:pt idx="776">
                  <c:v>51.07</c:v>
                </c:pt>
                <c:pt idx="777">
                  <c:v>49.71</c:v>
                </c:pt>
                <c:pt idx="778">
                  <c:v>49.27</c:v>
                </c:pt>
                <c:pt idx="779">
                  <c:v>46.71</c:v>
                </c:pt>
                <c:pt idx="780">
                  <c:v>41.57</c:v>
                </c:pt>
                <c:pt idx="781">
                  <c:v>32.64</c:v>
                </c:pt>
                <c:pt idx="782">
                  <c:v>33.01</c:v>
                </c:pt>
                <c:pt idx="783">
                  <c:v>37.93</c:v>
                </c:pt>
                <c:pt idx="784">
                  <c:v>40.869999999999997</c:v>
                </c:pt>
                <c:pt idx="785">
                  <c:v>38.19</c:v>
                </c:pt>
                <c:pt idx="786">
                  <c:v>35.64</c:v>
                </c:pt>
                <c:pt idx="787">
                  <c:v>37.590000000000003</c:v>
                </c:pt>
                <c:pt idx="788">
                  <c:v>28.43</c:v>
                </c:pt>
                <c:pt idx="789">
                  <c:v>16.690000000000001</c:v>
                </c:pt>
                <c:pt idx="790">
                  <c:v>32.83</c:v>
                </c:pt>
                <c:pt idx="791">
                  <c:v>41.57</c:v>
                </c:pt>
                <c:pt idx="792">
                  <c:v>38.57</c:v>
                </c:pt>
                <c:pt idx="793">
                  <c:v>42.67</c:v>
                </c:pt>
                <c:pt idx="794">
                  <c:v>41.56</c:v>
                </c:pt>
                <c:pt idx="795">
                  <c:v>36.119999999999997</c:v>
                </c:pt>
                <c:pt idx="796">
                  <c:v>36.58</c:v>
                </c:pt>
                <c:pt idx="797">
                  <c:v>52.03</c:v>
                </c:pt>
                <c:pt idx="798">
                  <c:v>54</c:v>
                </c:pt>
                <c:pt idx="799">
                  <c:v>50.99</c:v>
                </c:pt>
                <c:pt idx="800">
                  <c:v>51.01</c:v>
                </c:pt>
                <c:pt idx="801">
                  <c:v>43.19</c:v>
                </c:pt>
                <c:pt idx="802">
                  <c:v>37.67</c:v>
                </c:pt>
                <c:pt idx="803">
                  <c:v>32.78</c:v>
                </c:pt>
                <c:pt idx="804">
                  <c:v>45.41</c:v>
                </c:pt>
                <c:pt idx="805">
                  <c:v>48.64</c:v>
                </c:pt>
                <c:pt idx="806">
                  <c:v>40.74</c:v>
                </c:pt>
                <c:pt idx="807">
                  <c:v>41.27</c:v>
                </c:pt>
                <c:pt idx="808">
                  <c:v>35.67</c:v>
                </c:pt>
                <c:pt idx="809">
                  <c:v>34.5</c:v>
                </c:pt>
                <c:pt idx="810">
                  <c:v>28.61</c:v>
                </c:pt>
                <c:pt idx="811">
                  <c:v>43.89</c:v>
                </c:pt>
                <c:pt idx="812">
                  <c:v>37.26</c:v>
                </c:pt>
                <c:pt idx="813">
                  <c:v>36.07</c:v>
                </c:pt>
                <c:pt idx="814">
                  <c:v>35.380000000000003</c:v>
                </c:pt>
                <c:pt idx="815">
                  <c:v>37.32</c:v>
                </c:pt>
                <c:pt idx="816">
                  <c:v>29.55</c:v>
                </c:pt>
                <c:pt idx="817">
                  <c:v>20.14</c:v>
                </c:pt>
                <c:pt idx="818">
                  <c:v>35.92</c:v>
                </c:pt>
                <c:pt idx="819">
                  <c:v>36.9</c:v>
                </c:pt>
                <c:pt idx="820">
                  <c:v>36.17</c:v>
                </c:pt>
                <c:pt idx="821">
                  <c:v>38.799999999999997</c:v>
                </c:pt>
                <c:pt idx="822">
                  <c:v>39.18</c:v>
                </c:pt>
                <c:pt idx="823">
                  <c:v>37</c:v>
                </c:pt>
                <c:pt idx="824">
                  <c:v>29.3</c:v>
                </c:pt>
                <c:pt idx="825">
                  <c:v>30.44</c:v>
                </c:pt>
                <c:pt idx="826">
                  <c:v>49.87</c:v>
                </c:pt>
                <c:pt idx="827">
                  <c:v>43.86</c:v>
                </c:pt>
                <c:pt idx="828">
                  <c:v>43.43</c:v>
                </c:pt>
                <c:pt idx="829">
                  <c:v>43.32</c:v>
                </c:pt>
                <c:pt idx="830">
                  <c:v>35.32</c:v>
                </c:pt>
                <c:pt idx="831">
                  <c:v>29.11</c:v>
                </c:pt>
                <c:pt idx="832">
                  <c:v>41.76</c:v>
                </c:pt>
                <c:pt idx="833">
                  <c:v>45.93</c:v>
                </c:pt>
                <c:pt idx="834">
                  <c:v>46.22</c:v>
                </c:pt>
                <c:pt idx="835">
                  <c:v>48.34</c:v>
                </c:pt>
                <c:pt idx="836">
                  <c:v>41.61</c:v>
                </c:pt>
                <c:pt idx="837">
                  <c:v>40.4</c:v>
                </c:pt>
                <c:pt idx="838">
                  <c:v>36.96</c:v>
                </c:pt>
                <c:pt idx="839">
                  <c:v>45.06</c:v>
                </c:pt>
                <c:pt idx="840">
                  <c:v>42.62</c:v>
                </c:pt>
                <c:pt idx="841">
                  <c:v>40.42</c:v>
                </c:pt>
                <c:pt idx="842">
                  <c:v>42.14</c:v>
                </c:pt>
                <c:pt idx="843">
                  <c:v>44.48</c:v>
                </c:pt>
                <c:pt idx="844">
                  <c:v>37.450000000000003</c:v>
                </c:pt>
                <c:pt idx="845">
                  <c:v>21.71</c:v>
                </c:pt>
                <c:pt idx="846">
                  <c:v>40.17</c:v>
                </c:pt>
                <c:pt idx="847">
                  <c:v>41.62</c:v>
                </c:pt>
                <c:pt idx="848">
                  <c:v>43.98</c:v>
                </c:pt>
                <c:pt idx="849">
                  <c:v>41.14</c:v>
                </c:pt>
                <c:pt idx="850">
                  <c:v>39.619999999999997</c:v>
                </c:pt>
                <c:pt idx="851">
                  <c:v>27.62</c:v>
                </c:pt>
                <c:pt idx="852">
                  <c:v>32.33</c:v>
                </c:pt>
                <c:pt idx="853">
                  <c:v>45.49</c:v>
                </c:pt>
                <c:pt idx="854">
                  <c:v>44.52</c:v>
                </c:pt>
                <c:pt idx="855">
                  <c:v>46.45</c:v>
                </c:pt>
                <c:pt idx="856">
                  <c:v>46.31</c:v>
                </c:pt>
                <c:pt idx="857">
                  <c:v>48.89</c:v>
                </c:pt>
                <c:pt idx="858">
                  <c:v>43.22</c:v>
                </c:pt>
                <c:pt idx="859">
                  <c:v>39.64</c:v>
                </c:pt>
                <c:pt idx="860">
                  <c:v>50.28</c:v>
                </c:pt>
                <c:pt idx="861">
                  <c:v>50.96</c:v>
                </c:pt>
                <c:pt idx="862">
                  <c:v>48.93</c:v>
                </c:pt>
                <c:pt idx="863">
                  <c:v>44.8</c:v>
                </c:pt>
                <c:pt idx="864">
                  <c:v>47.44</c:v>
                </c:pt>
                <c:pt idx="865">
                  <c:v>41.83</c:v>
                </c:pt>
                <c:pt idx="866">
                  <c:v>15.94</c:v>
                </c:pt>
                <c:pt idx="867">
                  <c:v>46.07</c:v>
                </c:pt>
                <c:pt idx="868">
                  <c:v>47.61</c:v>
                </c:pt>
                <c:pt idx="869">
                  <c:v>46.27</c:v>
                </c:pt>
                <c:pt idx="870">
                  <c:v>48.52</c:v>
                </c:pt>
                <c:pt idx="871">
                  <c:v>48.27</c:v>
                </c:pt>
                <c:pt idx="872">
                  <c:v>36.909999999999997</c:v>
                </c:pt>
                <c:pt idx="873">
                  <c:v>23.58</c:v>
                </c:pt>
                <c:pt idx="874">
                  <c:v>30.63</c:v>
                </c:pt>
                <c:pt idx="875">
                  <c:v>43.6</c:v>
                </c:pt>
                <c:pt idx="876">
                  <c:v>48.75</c:v>
                </c:pt>
                <c:pt idx="877">
                  <c:v>46.21</c:v>
                </c:pt>
                <c:pt idx="878">
                  <c:v>43.94</c:v>
                </c:pt>
                <c:pt idx="879">
                  <c:v>34.880000000000003</c:v>
                </c:pt>
                <c:pt idx="880">
                  <c:v>17.75</c:v>
                </c:pt>
                <c:pt idx="881">
                  <c:v>38.76</c:v>
                </c:pt>
                <c:pt idx="882">
                  <c:v>38.619999999999997</c:v>
                </c:pt>
                <c:pt idx="883">
                  <c:v>42.75</c:v>
                </c:pt>
                <c:pt idx="884">
                  <c:v>36.42</c:v>
                </c:pt>
                <c:pt idx="885">
                  <c:v>44.38</c:v>
                </c:pt>
                <c:pt idx="886">
                  <c:v>39.299999999999997</c:v>
                </c:pt>
                <c:pt idx="887">
                  <c:v>31.67</c:v>
                </c:pt>
                <c:pt idx="888">
                  <c:v>41.03</c:v>
                </c:pt>
                <c:pt idx="889">
                  <c:v>53.702500000000001</c:v>
                </c:pt>
                <c:pt idx="890">
                  <c:v>47.423299999999998</c:v>
                </c:pt>
                <c:pt idx="891">
                  <c:v>48.24</c:v>
                </c:pt>
                <c:pt idx="892">
                  <c:v>47.68</c:v>
                </c:pt>
                <c:pt idx="893">
                  <c:v>32.93</c:v>
                </c:pt>
                <c:pt idx="894">
                  <c:v>25.43</c:v>
                </c:pt>
                <c:pt idx="895">
                  <c:v>43.6</c:v>
                </c:pt>
                <c:pt idx="896">
                  <c:v>45.57</c:v>
                </c:pt>
                <c:pt idx="897">
                  <c:v>46.59</c:v>
                </c:pt>
                <c:pt idx="898">
                  <c:v>48.97</c:v>
                </c:pt>
                <c:pt idx="899">
                  <c:v>45.94</c:v>
                </c:pt>
                <c:pt idx="900">
                  <c:v>40.64</c:v>
                </c:pt>
                <c:pt idx="901">
                  <c:v>29.1</c:v>
                </c:pt>
                <c:pt idx="902">
                  <c:v>45.32</c:v>
                </c:pt>
                <c:pt idx="903">
                  <c:v>48.16</c:v>
                </c:pt>
                <c:pt idx="904">
                  <c:v>48.78</c:v>
                </c:pt>
                <c:pt idx="905">
                  <c:v>53.21</c:v>
                </c:pt>
                <c:pt idx="906">
                  <c:v>45.98</c:v>
                </c:pt>
                <c:pt idx="907">
                  <c:v>41.66</c:v>
                </c:pt>
                <c:pt idx="908">
                  <c:v>38.19</c:v>
                </c:pt>
                <c:pt idx="909">
                  <c:v>50.99</c:v>
                </c:pt>
                <c:pt idx="910">
                  <c:v>46.92</c:v>
                </c:pt>
                <c:pt idx="911">
                  <c:v>51.17</c:v>
                </c:pt>
                <c:pt idx="912">
                  <c:v>53.57</c:v>
                </c:pt>
                <c:pt idx="913">
                  <c:v>51.63</c:v>
                </c:pt>
                <c:pt idx="914">
                  <c:v>43.16</c:v>
                </c:pt>
                <c:pt idx="915">
                  <c:v>36.68</c:v>
                </c:pt>
                <c:pt idx="916">
                  <c:v>50.41</c:v>
                </c:pt>
                <c:pt idx="917">
                  <c:v>47.21</c:v>
                </c:pt>
                <c:pt idx="918">
                  <c:v>49.34</c:v>
                </c:pt>
                <c:pt idx="919">
                  <c:v>52.23</c:v>
                </c:pt>
                <c:pt idx="920">
                  <c:v>54.19</c:v>
                </c:pt>
                <c:pt idx="921">
                  <c:v>46.82</c:v>
                </c:pt>
                <c:pt idx="922">
                  <c:v>38.74</c:v>
                </c:pt>
                <c:pt idx="923">
                  <c:v>52.65</c:v>
                </c:pt>
                <c:pt idx="924">
                  <c:v>53.29</c:v>
                </c:pt>
                <c:pt idx="925">
                  <c:v>50.96</c:v>
                </c:pt>
                <c:pt idx="926">
                  <c:v>49.09</c:v>
                </c:pt>
                <c:pt idx="927">
                  <c:v>48.99</c:v>
                </c:pt>
                <c:pt idx="928">
                  <c:v>45.07</c:v>
                </c:pt>
                <c:pt idx="929">
                  <c:v>34.97</c:v>
                </c:pt>
                <c:pt idx="930">
                  <c:v>48.22</c:v>
                </c:pt>
                <c:pt idx="931">
                  <c:v>50.13</c:v>
                </c:pt>
                <c:pt idx="932">
                  <c:v>48.81</c:v>
                </c:pt>
                <c:pt idx="933">
                  <c:v>48.92</c:v>
                </c:pt>
                <c:pt idx="934">
                  <c:v>46.94</c:v>
                </c:pt>
                <c:pt idx="935">
                  <c:v>40.270000000000003</c:v>
                </c:pt>
                <c:pt idx="936">
                  <c:v>24.79</c:v>
                </c:pt>
                <c:pt idx="937">
                  <c:v>45.11</c:v>
                </c:pt>
                <c:pt idx="938">
                  <c:v>45.26</c:v>
                </c:pt>
                <c:pt idx="939">
                  <c:v>42.88</c:v>
                </c:pt>
                <c:pt idx="940">
                  <c:v>44.05</c:v>
                </c:pt>
                <c:pt idx="941">
                  <c:v>39.270000000000003</c:v>
                </c:pt>
                <c:pt idx="942">
                  <c:v>37.11</c:v>
                </c:pt>
                <c:pt idx="943">
                  <c:v>27.76</c:v>
                </c:pt>
                <c:pt idx="944">
                  <c:v>40.75</c:v>
                </c:pt>
                <c:pt idx="945">
                  <c:v>41.38</c:v>
                </c:pt>
                <c:pt idx="946">
                  <c:v>39.21</c:v>
                </c:pt>
                <c:pt idx="947">
                  <c:v>38.507899999999999</c:v>
                </c:pt>
                <c:pt idx="948">
                  <c:v>40.56</c:v>
                </c:pt>
                <c:pt idx="949">
                  <c:v>32.65</c:v>
                </c:pt>
                <c:pt idx="950">
                  <c:v>25.97</c:v>
                </c:pt>
                <c:pt idx="951">
                  <c:v>40.25</c:v>
                </c:pt>
                <c:pt idx="952">
                  <c:v>42.91</c:v>
                </c:pt>
                <c:pt idx="953">
                  <c:v>42.53</c:v>
                </c:pt>
                <c:pt idx="954">
                  <c:v>43.97</c:v>
                </c:pt>
                <c:pt idx="955">
                  <c:v>44.77</c:v>
                </c:pt>
                <c:pt idx="956">
                  <c:v>40.5</c:v>
                </c:pt>
                <c:pt idx="957">
                  <c:v>29.01</c:v>
                </c:pt>
                <c:pt idx="958">
                  <c:v>41.38</c:v>
                </c:pt>
                <c:pt idx="959">
                  <c:v>41.35</c:v>
                </c:pt>
                <c:pt idx="960">
                  <c:v>39.57</c:v>
                </c:pt>
                <c:pt idx="961">
                  <c:v>41.04</c:v>
                </c:pt>
                <c:pt idx="962">
                  <c:v>44.81</c:v>
                </c:pt>
                <c:pt idx="963">
                  <c:v>37.44</c:v>
                </c:pt>
                <c:pt idx="964">
                  <c:v>29.87</c:v>
                </c:pt>
                <c:pt idx="965">
                  <c:v>44.59</c:v>
                </c:pt>
                <c:pt idx="966">
                  <c:v>38.86</c:v>
                </c:pt>
                <c:pt idx="967">
                  <c:v>41.34</c:v>
                </c:pt>
                <c:pt idx="968">
                  <c:v>49.1</c:v>
                </c:pt>
                <c:pt idx="969">
                  <c:v>52.34</c:v>
                </c:pt>
                <c:pt idx="970">
                  <c:v>43.54</c:v>
                </c:pt>
                <c:pt idx="971">
                  <c:v>27.79</c:v>
                </c:pt>
                <c:pt idx="972">
                  <c:v>42.2</c:v>
                </c:pt>
                <c:pt idx="973">
                  <c:v>47.78</c:v>
                </c:pt>
                <c:pt idx="974">
                  <c:v>44.82</c:v>
                </c:pt>
                <c:pt idx="975">
                  <c:v>47.05</c:v>
                </c:pt>
                <c:pt idx="976">
                  <c:v>48.04</c:v>
                </c:pt>
                <c:pt idx="977">
                  <c:v>45.36</c:v>
                </c:pt>
                <c:pt idx="978">
                  <c:v>39.75</c:v>
                </c:pt>
                <c:pt idx="979">
                  <c:v>43.41</c:v>
                </c:pt>
                <c:pt idx="980">
                  <c:v>39.39</c:v>
                </c:pt>
                <c:pt idx="981">
                  <c:v>42</c:v>
                </c:pt>
                <c:pt idx="982">
                  <c:v>43.99</c:v>
                </c:pt>
                <c:pt idx="983">
                  <c:v>48.43</c:v>
                </c:pt>
                <c:pt idx="984">
                  <c:v>40.31</c:v>
                </c:pt>
                <c:pt idx="985">
                  <c:v>33.909999999999997</c:v>
                </c:pt>
                <c:pt idx="986">
                  <c:v>50.86</c:v>
                </c:pt>
                <c:pt idx="987">
                  <c:v>45.74</c:v>
                </c:pt>
                <c:pt idx="988">
                  <c:v>43.89</c:v>
                </c:pt>
                <c:pt idx="989">
                  <c:v>46.27</c:v>
                </c:pt>
                <c:pt idx="990">
                  <c:v>44.77</c:v>
                </c:pt>
                <c:pt idx="991">
                  <c:v>41.73</c:v>
                </c:pt>
                <c:pt idx="992">
                  <c:v>33.86</c:v>
                </c:pt>
                <c:pt idx="993">
                  <c:v>42.19</c:v>
                </c:pt>
                <c:pt idx="994">
                  <c:v>48.35</c:v>
                </c:pt>
                <c:pt idx="995">
                  <c:v>50.6</c:v>
                </c:pt>
                <c:pt idx="996">
                  <c:v>50.78</c:v>
                </c:pt>
                <c:pt idx="997">
                  <c:v>47.92</c:v>
                </c:pt>
                <c:pt idx="998">
                  <c:v>45.09</c:v>
                </c:pt>
                <c:pt idx="999">
                  <c:v>45.71</c:v>
                </c:pt>
                <c:pt idx="1000">
                  <c:v>54.6</c:v>
                </c:pt>
                <c:pt idx="1001">
                  <c:v>53.47</c:v>
                </c:pt>
                <c:pt idx="1002">
                  <c:v>56.27</c:v>
                </c:pt>
                <c:pt idx="1003">
                  <c:v>57.25</c:v>
                </c:pt>
                <c:pt idx="1004">
                  <c:v>55.24</c:v>
                </c:pt>
                <c:pt idx="1005">
                  <c:v>44.85</c:v>
                </c:pt>
                <c:pt idx="1006">
                  <c:v>42.07</c:v>
                </c:pt>
                <c:pt idx="1007">
                  <c:v>43.38</c:v>
                </c:pt>
                <c:pt idx="1008">
                  <c:v>52.08</c:v>
                </c:pt>
                <c:pt idx="1009">
                  <c:v>50.02</c:v>
                </c:pt>
                <c:pt idx="1010">
                  <c:v>54.81</c:v>
                </c:pt>
                <c:pt idx="1011">
                  <c:v>48.38</c:v>
                </c:pt>
                <c:pt idx="1012">
                  <c:v>45.14</c:v>
                </c:pt>
                <c:pt idx="1013">
                  <c:v>40.18</c:v>
                </c:pt>
                <c:pt idx="1014">
                  <c:v>53.13</c:v>
                </c:pt>
                <c:pt idx="1015">
                  <c:v>56.17</c:v>
                </c:pt>
                <c:pt idx="1016">
                  <c:v>55.68</c:v>
                </c:pt>
                <c:pt idx="1017">
                  <c:v>56.39</c:v>
                </c:pt>
                <c:pt idx="1018">
                  <c:v>59.66</c:v>
                </c:pt>
                <c:pt idx="1019">
                  <c:v>48.96</c:v>
                </c:pt>
                <c:pt idx="1020">
                  <c:v>47.66</c:v>
                </c:pt>
                <c:pt idx="1021">
                  <c:v>58.08</c:v>
                </c:pt>
                <c:pt idx="1022">
                  <c:v>55.5</c:v>
                </c:pt>
                <c:pt idx="1023">
                  <c:v>53.59</c:v>
                </c:pt>
                <c:pt idx="1024">
                  <c:v>53.31</c:v>
                </c:pt>
                <c:pt idx="1025">
                  <c:v>53.97</c:v>
                </c:pt>
                <c:pt idx="1026">
                  <c:v>46.61</c:v>
                </c:pt>
                <c:pt idx="1027">
                  <c:v>33.245399999999997</c:v>
                </c:pt>
                <c:pt idx="1028">
                  <c:v>54.588700000000003</c:v>
                </c:pt>
                <c:pt idx="1029">
                  <c:v>55.255400000000002</c:v>
                </c:pt>
                <c:pt idx="1030">
                  <c:v>51.953699999999998</c:v>
                </c:pt>
                <c:pt idx="1031">
                  <c:v>52.393700000000003</c:v>
                </c:pt>
                <c:pt idx="1032">
                  <c:v>50.615000000000002</c:v>
                </c:pt>
                <c:pt idx="1033">
                  <c:v>42.761600000000001</c:v>
                </c:pt>
                <c:pt idx="1034">
                  <c:v>43.671599999999998</c:v>
                </c:pt>
                <c:pt idx="1035">
                  <c:v>48.28</c:v>
                </c:pt>
                <c:pt idx="1036">
                  <c:v>48.04</c:v>
                </c:pt>
                <c:pt idx="1037">
                  <c:v>44.758299999999998</c:v>
                </c:pt>
                <c:pt idx="1038">
                  <c:v>45.357500000000002</c:v>
                </c:pt>
                <c:pt idx="1039">
                  <c:v>44.497900000000001</c:v>
                </c:pt>
                <c:pt idx="1040">
                  <c:v>45.045400000000001</c:v>
                </c:pt>
                <c:pt idx="1041">
                  <c:v>44.7087</c:v>
                </c:pt>
                <c:pt idx="1042">
                  <c:v>54.403300000000002</c:v>
                </c:pt>
                <c:pt idx="1043">
                  <c:v>49.281999999999996</c:v>
                </c:pt>
                <c:pt idx="1044">
                  <c:v>51.214100000000002</c:v>
                </c:pt>
                <c:pt idx="1045">
                  <c:v>41.803699999999999</c:v>
                </c:pt>
                <c:pt idx="1046">
                  <c:v>37.744999999999997</c:v>
                </c:pt>
                <c:pt idx="1047">
                  <c:v>35.541600000000003</c:v>
                </c:pt>
                <c:pt idx="1048">
                  <c:v>26.878299999999999</c:v>
                </c:pt>
                <c:pt idx="1049">
                  <c:v>47.5687</c:v>
                </c:pt>
                <c:pt idx="1050">
                  <c:v>52.122</c:v>
                </c:pt>
                <c:pt idx="1051">
                  <c:v>53.1616</c:v>
                </c:pt>
                <c:pt idx="1052">
                  <c:v>53.367899999999999</c:v>
                </c:pt>
                <c:pt idx="1053">
                  <c:v>53.577500000000001</c:v>
                </c:pt>
                <c:pt idx="1054">
                  <c:v>47.192500000000003</c:v>
                </c:pt>
                <c:pt idx="1055">
                  <c:v>42.518700000000003</c:v>
                </c:pt>
                <c:pt idx="1056">
                  <c:v>50.486199999999997</c:v>
                </c:pt>
                <c:pt idx="1057">
                  <c:v>51.872500000000002</c:v>
                </c:pt>
                <c:pt idx="1058">
                  <c:v>55.545000000000002</c:v>
                </c:pt>
                <c:pt idx="1059">
                  <c:v>60.944499999999998</c:v>
                </c:pt>
                <c:pt idx="1060">
                  <c:v>60.017899999999997</c:v>
                </c:pt>
                <c:pt idx="1061">
                  <c:v>48.865400000000001</c:v>
                </c:pt>
                <c:pt idx="1062">
                  <c:v>45.668700000000001</c:v>
                </c:pt>
                <c:pt idx="1063">
                  <c:v>56.422899999999998</c:v>
                </c:pt>
                <c:pt idx="1064">
                  <c:v>58.98</c:v>
                </c:pt>
                <c:pt idx="1065">
                  <c:v>51.688299999999998</c:v>
                </c:pt>
                <c:pt idx="1066">
                  <c:v>63.918300000000002</c:v>
                </c:pt>
                <c:pt idx="1067">
                  <c:v>70.939499999999995</c:v>
                </c:pt>
                <c:pt idx="1068">
                  <c:v>50.759099999999997</c:v>
                </c:pt>
                <c:pt idx="1069">
                  <c:v>47.576599999999999</c:v>
                </c:pt>
                <c:pt idx="1070">
                  <c:v>70.150000000000006</c:v>
                </c:pt>
                <c:pt idx="1071">
                  <c:v>69.47</c:v>
                </c:pt>
                <c:pt idx="1072">
                  <c:v>59.377499999999998</c:v>
                </c:pt>
                <c:pt idx="1073">
                  <c:v>51.679499999999997</c:v>
                </c:pt>
                <c:pt idx="1074">
                  <c:v>58.04</c:v>
                </c:pt>
                <c:pt idx="1075">
                  <c:v>31.116599999999998</c:v>
                </c:pt>
                <c:pt idx="1076">
                  <c:v>33.31</c:v>
                </c:pt>
                <c:pt idx="1077">
                  <c:v>63.671599999999998</c:v>
                </c:pt>
                <c:pt idx="1078">
                  <c:v>67.0625</c:v>
                </c:pt>
                <c:pt idx="1079">
                  <c:v>72.063699999999997</c:v>
                </c:pt>
                <c:pt idx="1080">
                  <c:v>61.006999999999998</c:v>
                </c:pt>
                <c:pt idx="1081">
                  <c:v>66.95</c:v>
                </c:pt>
                <c:pt idx="1082">
                  <c:v>59.027000000000001</c:v>
                </c:pt>
                <c:pt idx="1083">
                  <c:v>47.372500000000002</c:v>
                </c:pt>
                <c:pt idx="1084">
                  <c:v>65.052899999999994</c:v>
                </c:pt>
                <c:pt idx="1085">
                  <c:v>66.6858</c:v>
                </c:pt>
                <c:pt idx="1086">
                  <c:v>56.632899999999999</c:v>
                </c:pt>
                <c:pt idx="1087">
                  <c:v>52.8</c:v>
                </c:pt>
                <c:pt idx="1088">
                  <c:v>36.508699999999997</c:v>
                </c:pt>
                <c:pt idx="1089">
                  <c:v>37.372900000000001</c:v>
                </c:pt>
                <c:pt idx="1090">
                  <c:v>46.1312</c:v>
                </c:pt>
                <c:pt idx="1091">
                  <c:v>56.453299999999999</c:v>
                </c:pt>
                <c:pt idx="1092">
                  <c:v>55.510800000000003</c:v>
                </c:pt>
                <c:pt idx="1093">
                  <c:v>55.472499999999997</c:v>
                </c:pt>
                <c:pt idx="1094">
                  <c:v>52.514499999999998</c:v>
                </c:pt>
                <c:pt idx="1095">
                  <c:v>45.62</c:v>
                </c:pt>
                <c:pt idx="1096">
                  <c:v>20.781199999999998</c:v>
                </c:pt>
                <c:pt idx="1097">
                  <c:v>43.161200000000001</c:v>
                </c:pt>
                <c:pt idx="1098">
                  <c:v>59.859499999999997</c:v>
                </c:pt>
                <c:pt idx="1099">
                  <c:v>57.637900000000002</c:v>
                </c:pt>
                <c:pt idx="1100">
                  <c:v>55.08</c:v>
                </c:pt>
                <c:pt idx="1101">
                  <c:v>47.281999999999996</c:v>
                </c:pt>
                <c:pt idx="1102">
                  <c:v>52.230800000000002</c:v>
                </c:pt>
                <c:pt idx="1103">
                  <c:v>35.211199999999998</c:v>
                </c:pt>
                <c:pt idx="1104">
                  <c:v>35.8904</c:v>
                </c:pt>
                <c:pt idx="1105">
                  <c:v>48.9</c:v>
                </c:pt>
                <c:pt idx="1106">
                  <c:v>56.771999999999998</c:v>
                </c:pt>
                <c:pt idx="1107">
                  <c:v>49.48</c:v>
                </c:pt>
                <c:pt idx="1108">
                  <c:v>47.51</c:v>
                </c:pt>
                <c:pt idx="1109">
                  <c:v>45.59</c:v>
                </c:pt>
                <c:pt idx="1110">
                  <c:v>41.3</c:v>
                </c:pt>
                <c:pt idx="1111">
                  <c:v>32.65</c:v>
                </c:pt>
                <c:pt idx="1112">
                  <c:v>48.19</c:v>
                </c:pt>
                <c:pt idx="1113">
                  <c:v>52.94</c:v>
                </c:pt>
                <c:pt idx="1114">
                  <c:v>57.14</c:v>
                </c:pt>
                <c:pt idx="1115">
                  <c:v>56.6</c:v>
                </c:pt>
                <c:pt idx="1116">
                  <c:v>57.29</c:v>
                </c:pt>
                <c:pt idx="1117">
                  <c:v>53.84</c:v>
                </c:pt>
                <c:pt idx="1118">
                  <c:v>48.05</c:v>
                </c:pt>
                <c:pt idx="1119">
                  <c:v>58.17</c:v>
                </c:pt>
                <c:pt idx="1120">
                  <c:v>53.98</c:v>
                </c:pt>
                <c:pt idx="1121">
                  <c:v>58.99</c:v>
                </c:pt>
                <c:pt idx="1122">
                  <c:v>58.27</c:v>
                </c:pt>
                <c:pt idx="1123">
                  <c:v>57.58</c:v>
                </c:pt>
                <c:pt idx="1124">
                  <c:v>51.99</c:v>
                </c:pt>
                <c:pt idx="1125">
                  <c:v>49.83</c:v>
                </c:pt>
                <c:pt idx="1126">
                  <c:v>61.76</c:v>
                </c:pt>
                <c:pt idx="1127">
                  <c:v>58.82</c:v>
                </c:pt>
                <c:pt idx="1128">
                  <c:v>55.55</c:v>
                </c:pt>
                <c:pt idx="1129">
                  <c:v>51.43</c:v>
                </c:pt>
                <c:pt idx="1130">
                  <c:v>34.06</c:v>
                </c:pt>
                <c:pt idx="1131">
                  <c:v>23.06</c:v>
                </c:pt>
                <c:pt idx="1132">
                  <c:v>33.83</c:v>
                </c:pt>
                <c:pt idx="1133">
                  <c:v>42.03</c:v>
                </c:pt>
                <c:pt idx="1134">
                  <c:v>50.14</c:v>
                </c:pt>
                <c:pt idx="1135">
                  <c:v>55.32</c:v>
                </c:pt>
                <c:pt idx="1136">
                  <c:v>54.05</c:v>
                </c:pt>
                <c:pt idx="1137">
                  <c:v>53.69</c:v>
                </c:pt>
                <c:pt idx="1138">
                  <c:v>49.74</c:v>
                </c:pt>
                <c:pt idx="1139">
                  <c:v>42.02</c:v>
                </c:pt>
                <c:pt idx="1140">
                  <c:v>47.25</c:v>
                </c:pt>
                <c:pt idx="1141">
                  <c:v>55.33</c:v>
                </c:pt>
                <c:pt idx="1142">
                  <c:v>54.76</c:v>
                </c:pt>
                <c:pt idx="1143">
                  <c:v>56.58</c:v>
                </c:pt>
                <c:pt idx="1144">
                  <c:v>57.42</c:v>
                </c:pt>
                <c:pt idx="1145">
                  <c:v>50</c:v>
                </c:pt>
                <c:pt idx="1146">
                  <c:v>46.42</c:v>
                </c:pt>
                <c:pt idx="1147">
                  <c:v>58.71</c:v>
                </c:pt>
                <c:pt idx="1148">
                  <c:v>58.77</c:v>
                </c:pt>
                <c:pt idx="1149">
                  <c:v>59.18</c:v>
                </c:pt>
                <c:pt idx="1150">
                  <c:v>58.31</c:v>
                </c:pt>
                <c:pt idx="1151">
                  <c:v>56.31</c:v>
                </c:pt>
                <c:pt idx="1152">
                  <c:v>50.87</c:v>
                </c:pt>
                <c:pt idx="1153">
                  <c:v>50.3</c:v>
                </c:pt>
                <c:pt idx="1154">
                  <c:v>60.15</c:v>
                </c:pt>
                <c:pt idx="1155">
                  <c:v>58.25</c:v>
                </c:pt>
                <c:pt idx="1156">
                  <c:v>55.93</c:v>
                </c:pt>
                <c:pt idx="1157">
                  <c:v>59.12</c:v>
                </c:pt>
                <c:pt idx="1158">
                  <c:v>59.81</c:v>
                </c:pt>
                <c:pt idx="1159">
                  <c:v>48.41</c:v>
                </c:pt>
                <c:pt idx="1160">
                  <c:v>46.67</c:v>
                </c:pt>
                <c:pt idx="1161">
                  <c:v>56.58</c:v>
                </c:pt>
                <c:pt idx="1162">
                  <c:v>53.02</c:v>
                </c:pt>
                <c:pt idx="1163">
                  <c:v>54.7</c:v>
                </c:pt>
                <c:pt idx="1164">
                  <c:v>50.29</c:v>
                </c:pt>
                <c:pt idx="1165">
                  <c:v>54.41</c:v>
                </c:pt>
                <c:pt idx="1166">
                  <c:v>53.3</c:v>
                </c:pt>
                <c:pt idx="1167">
                  <c:v>50.57</c:v>
                </c:pt>
                <c:pt idx="1168">
                  <c:v>59.21</c:v>
                </c:pt>
                <c:pt idx="1169">
                  <c:v>53.83</c:v>
                </c:pt>
                <c:pt idx="1170">
                  <c:v>52.99</c:v>
                </c:pt>
                <c:pt idx="1171">
                  <c:v>56.04</c:v>
                </c:pt>
                <c:pt idx="1172">
                  <c:v>60.28</c:v>
                </c:pt>
                <c:pt idx="1173">
                  <c:v>49.63</c:v>
                </c:pt>
                <c:pt idx="1174">
                  <c:v>47.48</c:v>
                </c:pt>
                <c:pt idx="1175">
                  <c:v>56.04</c:v>
                </c:pt>
                <c:pt idx="1176">
                  <c:v>55.69</c:v>
                </c:pt>
                <c:pt idx="1177">
                  <c:v>56.02</c:v>
                </c:pt>
                <c:pt idx="1178">
                  <c:v>55.03</c:v>
                </c:pt>
                <c:pt idx="1179">
                  <c:v>54.95</c:v>
                </c:pt>
                <c:pt idx="1180">
                  <c:v>54.92</c:v>
                </c:pt>
                <c:pt idx="1181">
                  <c:v>49.34</c:v>
                </c:pt>
                <c:pt idx="1182">
                  <c:v>57.52</c:v>
                </c:pt>
                <c:pt idx="1183">
                  <c:v>56.66</c:v>
                </c:pt>
                <c:pt idx="1184">
                  <c:v>58.27</c:v>
                </c:pt>
                <c:pt idx="1185">
                  <c:v>53.59</c:v>
                </c:pt>
                <c:pt idx="1186">
                  <c:v>54.69</c:v>
                </c:pt>
                <c:pt idx="1187">
                  <c:v>52.01</c:v>
                </c:pt>
                <c:pt idx="1188">
                  <c:v>46.38</c:v>
                </c:pt>
                <c:pt idx="1189">
                  <c:v>58.49</c:v>
                </c:pt>
                <c:pt idx="1190">
                  <c:v>55.21</c:v>
                </c:pt>
                <c:pt idx="1191">
                  <c:v>55.33</c:v>
                </c:pt>
                <c:pt idx="1192">
                  <c:v>55.22</c:v>
                </c:pt>
                <c:pt idx="1193">
                  <c:v>51.82</c:v>
                </c:pt>
                <c:pt idx="1194">
                  <c:v>43.84</c:v>
                </c:pt>
                <c:pt idx="1195">
                  <c:v>33.47</c:v>
                </c:pt>
                <c:pt idx="1196">
                  <c:v>56.57</c:v>
                </c:pt>
                <c:pt idx="1197">
                  <c:v>53.15</c:v>
                </c:pt>
                <c:pt idx="1198">
                  <c:v>55.96</c:v>
                </c:pt>
                <c:pt idx="1199">
                  <c:v>60.69</c:v>
                </c:pt>
                <c:pt idx="1200">
                  <c:v>58.61</c:v>
                </c:pt>
                <c:pt idx="1201">
                  <c:v>54.28</c:v>
                </c:pt>
                <c:pt idx="1202">
                  <c:v>49.7</c:v>
                </c:pt>
                <c:pt idx="1203">
                  <c:v>59.56</c:v>
                </c:pt>
                <c:pt idx="1204">
                  <c:v>56.46</c:v>
                </c:pt>
                <c:pt idx="1205">
                  <c:v>57.3</c:v>
                </c:pt>
                <c:pt idx="1206">
                  <c:v>56.87</c:v>
                </c:pt>
                <c:pt idx="1207">
                  <c:v>51.43</c:v>
                </c:pt>
                <c:pt idx="1208">
                  <c:v>47.27</c:v>
                </c:pt>
                <c:pt idx="1209">
                  <c:v>33.97</c:v>
                </c:pt>
                <c:pt idx="1210">
                  <c:v>27.95</c:v>
                </c:pt>
                <c:pt idx="1211">
                  <c:v>53</c:v>
                </c:pt>
                <c:pt idx="1212">
                  <c:v>56.23</c:v>
                </c:pt>
                <c:pt idx="1213">
                  <c:v>55.31</c:v>
                </c:pt>
                <c:pt idx="1214">
                  <c:v>52.63</c:v>
                </c:pt>
                <c:pt idx="1215">
                  <c:v>44</c:v>
                </c:pt>
                <c:pt idx="1216">
                  <c:v>31.27</c:v>
                </c:pt>
                <c:pt idx="1217">
                  <c:v>54.38</c:v>
                </c:pt>
                <c:pt idx="1218">
                  <c:v>61.21</c:v>
                </c:pt>
                <c:pt idx="1219">
                  <c:v>59.81</c:v>
                </c:pt>
                <c:pt idx="1220">
                  <c:v>62.3</c:v>
                </c:pt>
                <c:pt idx="1221">
                  <c:v>56.99</c:v>
                </c:pt>
                <c:pt idx="1222">
                  <c:v>51.91</c:v>
                </c:pt>
                <c:pt idx="1223">
                  <c:v>45.88</c:v>
                </c:pt>
                <c:pt idx="1224">
                  <c:v>60.57</c:v>
                </c:pt>
                <c:pt idx="1225">
                  <c:v>63.32</c:v>
                </c:pt>
                <c:pt idx="1226">
                  <c:v>65.12</c:v>
                </c:pt>
                <c:pt idx="1227">
                  <c:v>68.3</c:v>
                </c:pt>
                <c:pt idx="1228">
                  <c:v>60.08</c:v>
                </c:pt>
                <c:pt idx="1229">
                  <c:v>53.51</c:v>
                </c:pt>
                <c:pt idx="1230">
                  <c:v>49.77</c:v>
                </c:pt>
                <c:pt idx="1231">
                  <c:v>56.3</c:v>
                </c:pt>
                <c:pt idx="1232">
                  <c:v>62.35</c:v>
                </c:pt>
                <c:pt idx="1233">
                  <c:v>61.35</c:v>
                </c:pt>
                <c:pt idx="1234">
                  <c:v>62.15</c:v>
                </c:pt>
                <c:pt idx="1235">
                  <c:v>66.88</c:v>
                </c:pt>
                <c:pt idx="1236">
                  <c:v>53.69</c:v>
                </c:pt>
                <c:pt idx="1237">
                  <c:v>48.26</c:v>
                </c:pt>
                <c:pt idx="1238">
                  <c:v>61.47</c:v>
                </c:pt>
                <c:pt idx="1239">
                  <c:v>56.36</c:v>
                </c:pt>
                <c:pt idx="1240">
                  <c:v>63.02</c:v>
                </c:pt>
                <c:pt idx="1241">
                  <c:v>55.49</c:v>
                </c:pt>
                <c:pt idx="1242">
                  <c:v>57.77</c:v>
                </c:pt>
                <c:pt idx="1243">
                  <c:v>51.46</c:v>
                </c:pt>
                <c:pt idx="1244">
                  <c:v>42.91</c:v>
                </c:pt>
                <c:pt idx="1245">
                  <c:v>59.94</c:v>
                </c:pt>
                <c:pt idx="1246">
                  <c:v>57.97</c:v>
                </c:pt>
                <c:pt idx="1247">
                  <c:v>60.06</c:v>
                </c:pt>
                <c:pt idx="1248">
                  <c:v>50.91</c:v>
                </c:pt>
                <c:pt idx="1249">
                  <c:v>53.55</c:v>
                </c:pt>
                <c:pt idx="1250">
                  <c:v>50.74</c:v>
                </c:pt>
                <c:pt idx="1251">
                  <c:v>48.69</c:v>
                </c:pt>
                <c:pt idx="1252">
                  <c:v>60.4</c:v>
                </c:pt>
                <c:pt idx="1253">
                  <c:v>62.29</c:v>
                </c:pt>
                <c:pt idx="1254">
                  <c:v>60.91</c:v>
                </c:pt>
                <c:pt idx="1255">
                  <c:v>55.77</c:v>
                </c:pt>
                <c:pt idx="1256">
                  <c:v>58.87</c:v>
                </c:pt>
                <c:pt idx="1257">
                  <c:v>52.95</c:v>
                </c:pt>
                <c:pt idx="1258">
                  <c:v>50.37</c:v>
                </c:pt>
                <c:pt idx="1259">
                  <c:v>52.15</c:v>
                </c:pt>
                <c:pt idx="1260">
                  <c:v>59.89</c:v>
                </c:pt>
                <c:pt idx="1261">
                  <c:v>63.24</c:v>
                </c:pt>
                <c:pt idx="1262">
                  <c:v>59.51</c:v>
                </c:pt>
                <c:pt idx="1263">
                  <c:v>55.95</c:v>
                </c:pt>
                <c:pt idx="1264">
                  <c:v>50.36</c:v>
                </c:pt>
                <c:pt idx="1265">
                  <c:v>13.63</c:v>
                </c:pt>
                <c:pt idx="1266">
                  <c:v>45.67</c:v>
                </c:pt>
                <c:pt idx="1267">
                  <c:v>56.12</c:v>
                </c:pt>
                <c:pt idx="1268">
                  <c:v>53.94</c:v>
                </c:pt>
                <c:pt idx="1269">
                  <c:v>45.34</c:v>
                </c:pt>
                <c:pt idx="1270">
                  <c:v>50.33</c:v>
                </c:pt>
                <c:pt idx="1271">
                  <c:v>46.23</c:v>
                </c:pt>
                <c:pt idx="1272">
                  <c:v>43.02</c:v>
                </c:pt>
                <c:pt idx="1273">
                  <c:v>54.42</c:v>
                </c:pt>
                <c:pt idx="1274">
                  <c:v>50.4</c:v>
                </c:pt>
                <c:pt idx="1275">
                  <c:v>51.97</c:v>
                </c:pt>
                <c:pt idx="1276">
                  <c:v>51.2</c:v>
                </c:pt>
                <c:pt idx="1277">
                  <c:v>50.91</c:v>
                </c:pt>
                <c:pt idx="1278">
                  <c:v>43.04</c:v>
                </c:pt>
                <c:pt idx="1279">
                  <c:v>30.24</c:v>
                </c:pt>
                <c:pt idx="1280">
                  <c:v>53.3</c:v>
                </c:pt>
                <c:pt idx="1281">
                  <c:v>54.69</c:v>
                </c:pt>
                <c:pt idx="1282">
                  <c:v>53.54</c:v>
                </c:pt>
                <c:pt idx="1283">
                  <c:v>55.29</c:v>
                </c:pt>
                <c:pt idx="1284">
                  <c:v>52.06</c:v>
                </c:pt>
                <c:pt idx="1285">
                  <c:v>49.63</c:v>
                </c:pt>
                <c:pt idx="1286">
                  <c:v>44.36</c:v>
                </c:pt>
                <c:pt idx="1287">
                  <c:v>56.15</c:v>
                </c:pt>
                <c:pt idx="1288">
                  <c:v>51.05</c:v>
                </c:pt>
                <c:pt idx="1289">
                  <c:v>50.63</c:v>
                </c:pt>
                <c:pt idx="1290">
                  <c:v>48.4</c:v>
                </c:pt>
                <c:pt idx="1291">
                  <c:v>48.14</c:v>
                </c:pt>
                <c:pt idx="1292">
                  <c:v>42.85</c:v>
                </c:pt>
                <c:pt idx="1293">
                  <c:v>35.43</c:v>
                </c:pt>
                <c:pt idx="1294">
                  <c:v>43.64</c:v>
                </c:pt>
                <c:pt idx="1295">
                  <c:v>51.92</c:v>
                </c:pt>
                <c:pt idx="1296">
                  <c:v>50.62</c:v>
                </c:pt>
                <c:pt idx="1297">
                  <c:v>51.11</c:v>
                </c:pt>
                <c:pt idx="1298">
                  <c:v>48.23</c:v>
                </c:pt>
                <c:pt idx="1299">
                  <c:v>27.66</c:v>
                </c:pt>
                <c:pt idx="1300">
                  <c:v>19.82</c:v>
                </c:pt>
                <c:pt idx="1301">
                  <c:v>44.83</c:v>
                </c:pt>
                <c:pt idx="1302">
                  <c:v>49.77</c:v>
                </c:pt>
                <c:pt idx="1303">
                  <c:v>49.97</c:v>
                </c:pt>
                <c:pt idx="1304">
                  <c:v>49.72</c:v>
                </c:pt>
                <c:pt idx="1305">
                  <c:v>48.92</c:v>
                </c:pt>
                <c:pt idx="1306">
                  <c:v>42.33</c:v>
                </c:pt>
                <c:pt idx="1307">
                  <c:v>40.1</c:v>
                </c:pt>
                <c:pt idx="1308">
                  <c:v>49.89</c:v>
                </c:pt>
                <c:pt idx="1309">
                  <c:v>48.64</c:v>
                </c:pt>
                <c:pt idx="1310">
                  <c:v>47.6</c:v>
                </c:pt>
                <c:pt idx="1311">
                  <c:v>49.69</c:v>
                </c:pt>
                <c:pt idx="1312">
                  <c:v>48.01</c:v>
                </c:pt>
                <c:pt idx="1313">
                  <c:v>45.19</c:v>
                </c:pt>
                <c:pt idx="1314">
                  <c:v>27.61</c:v>
                </c:pt>
                <c:pt idx="1315">
                  <c:v>44.66</c:v>
                </c:pt>
                <c:pt idx="1316">
                  <c:v>35.67</c:v>
                </c:pt>
                <c:pt idx="1317">
                  <c:v>40.76</c:v>
                </c:pt>
                <c:pt idx="1318">
                  <c:v>42.58</c:v>
                </c:pt>
                <c:pt idx="1319">
                  <c:v>48.41</c:v>
                </c:pt>
                <c:pt idx="1320">
                  <c:v>47.62</c:v>
                </c:pt>
                <c:pt idx="1321">
                  <c:v>43.37</c:v>
                </c:pt>
                <c:pt idx="1322">
                  <c:v>46.62</c:v>
                </c:pt>
                <c:pt idx="1323">
                  <c:v>51.18</c:v>
                </c:pt>
                <c:pt idx="1324">
                  <c:v>51.23</c:v>
                </c:pt>
                <c:pt idx="1325">
                  <c:v>52.16</c:v>
                </c:pt>
                <c:pt idx="1326">
                  <c:v>51.14</c:v>
                </c:pt>
                <c:pt idx="1327">
                  <c:v>48.35</c:v>
                </c:pt>
                <c:pt idx="1328">
                  <c:v>45.5</c:v>
                </c:pt>
                <c:pt idx="1329">
                  <c:v>57.5</c:v>
                </c:pt>
                <c:pt idx="1330">
                  <c:v>54.69</c:v>
                </c:pt>
                <c:pt idx="1331">
                  <c:v>58.75</c:v>
                </c:pt>
                <c:pt idx="1332">
                  <c:v>63.74</c:v>
                </c:pt>
                <c:pt idx="1333">
                  <c:v>53.4</c:v>
                </c:pt>
                <c:pt idx="1334">
                  <c:v>48.49</c:v>
                </c:pt>
                <c:pt idx="1335">
                  <c:v>41.07</c:v>
                </c:pt>
                <c:pt idx="1336">
                  <c:v>49.82</c:v>
                </c:pt>
                <c:pt idx="1337">
                  <c:v>56.92</c:v>
                </c:pt>
                <c:pt idx="1338">
                  <c:v>55.5</c:v>
                </c:pt>
                <c:pt idx="1339">
                  <c:v>59.01</c:v>
                </c:pt>
                <c:pt idx="1340">
                  <c:v>56.9</c:v>
                </c:pt>
                <c:pt idx="1341">
                  <c:v>50.88</c:v>
                </c:pt>
                <c:pt idx="1342">
                  <c:v>45.34</c:v>
                </c:pt>
                <c:pt idx="1343">
                  <c:v>53.88</c:v>
                </c:pt>
                <c:pt idx="1344">
                  <c:v>46.23</c:v>
                </c:pt>
                <c:pt idx="1345">
                  <c:v>43.94</c:v>
                </c:pt>
                <c:pt idx="1346">
                  <c:v>50.33</c:v>
                </c:pt>
                <c:pt idx="1347">
                  <c:v>61.03</c:v>
                </c:pt>
                <c:pt idx="1348">
                  <c:v>49.55</c:v>
                </c:pt>
                <c:pt idx="1349">
                  <c:v>39.22</c:v>
                </c:pt>
                <c:pt idx="1350">
                  <c:v>48.94</c:v>
                </c:pt>
                <c:pt idx="1351">
                  <c:v>48.07</c:v>
                </c:pt>
                <c:pt idx="1352">
                  <c:v>50.66</c:v>
                </c:pt>
                <c:pt idx="1353">
                  <c:v>56.45</c:v>
                </c:pt>
                <c:pt idx="1354">
                  <c:v>58.08</c:v>
                </c:pt>
                <c:pt idx="1355">
                  <c:v>52.7</c:v>
                </c:pt>
                <c:pt idx="1356">
                  <c:v>45.63</c:v>
                </c:pt>
                <c:pt idx="1357">
                  <c:v>61.27</c:v>
                </c:pt>
                <c:pt idx="1358">
                  <c:v>57.97</c:v>
                </c:pt>
                <c:pt idx="1359">
                  <c:v>55.79</c:v>
                </c:pt>
                <c:pt idx="1360">
                  <c:v>52</c:v>
                </c:pt>
                <c:pt idx="1361">
                  <c:v>55.97</c:v>
                </c:pt>
                <c:pt idx="1362">
                  <c:v>48.34</c:v>
                </c:pt>
                <c:pt idx="1363">
                  <c:v>43.31</c:v>
                </c:pt>
                <c:pt idx="1364">
                  <c:v>54.3</c:v>
                </c:pt>
                <c:pt idx="1365">
                  <c:v>60.22</c:v>
                </c:pt>
                <c:pt idx="1366">
                  <c:v>58.42</c:v>
                </c:pt>
                <c:pt idx="1367">
                  <c:v>57.25</c:v>
                </c:pt>
                <c:pt idx="1368">
                  <c:v>57.6</c:v>
                </c:pt>
                <c:pt idx="1369">
                  <c:v>50.23</c:v>
                </c:pt>
                <c:pt idx="1370">
                  <c:v>41.59</c:v>
                </c:pt>
                <c:pt idx="1371">
                  <c:v>48.63</c:v>
                </c:pt>
                <c:pt idx="1372">
                  <c:v>51.91</c:v>
                </c:pt>
                <c:pt idx="1373">
                  <c:v>54.36</c:v>
                </c:pt>
                <c:pt idx="1374">
                  <c:v>46.24</c:v>
                </c:pt>
                <c:pt idx="1375">
                  <c:v>50.8</c:v>
                </c:pt>
                <c:pt idx="1376">
                  <c:v>49.73</c:v>
                </c:pt>
                <c:pt idx="1377">
                  <c:v>44.3</c:v>
                </c:pt>
                <c:pt idx="1378">
                  <c:v>50.98</c:v>
                </c:pt>
                <c:pt idx="1379">
                  <c:v>53.15</c:v>
                </c:pt>
                <c:pt idx="1380">
                  <c:v>54.39</c:v>
                </c:pt>
                <c:pt idx="1381">
                  <c:v>57.63</c:v>
                </c:pt>
                <c:pt idx="1382">
                  <c:v>54.65</c:v>
                </c:pt>
                <c:pt idx="1383">
                  <c:v>47.71</c:v>
                </c:pt>
                <c:pt idx="1384">
                  <c:v>43.58</c:v>
                </c:pt>
                <c:pt idx="1385">
                  <c:v>57.68</c:v>
                </c:pt>
                <c:pt idx="1386">
                  <c:v>49.59</c:v>
                </c:pt>
                <c:pt idx="1387">
                  <c:v>55.36</c:v>
                </c:pt>
                <c:pt idx="1388">
                  <c:v>62.41</c:v>
                </c:pt>
                <c:pt idx="1389">
                  <c:v>55.49</c:v>
                </c:pt>
                <c:pt idx="1390">
                  <c:v>48.67</c:v>
                </c:pt>
                <c:pt idx="1391">
                  <c:v>41.26</c:v>
                </c:pt>
                <c:pt idx="1392">
                  <c:v>49.28</c:v>
                </c:pt>
                <c:pt idx="1393">
                  <c:v>54.32</c:v>
                </c:pt>
                <c:pt idx="1394">
                  <c:v>59.46</c:v>
                </c:pt>
                <c:pt idx="1395">
                  <c:v>60.07</c:v>
                </c:pt>
                <c:pt idx="1396">
                  <c:v>56.75</c:v>
                </c:pt>
                <c:pt idx="1397">
                  <c:v>50.67</c:v>
                </c:pt>
                <c:pt idx="1398">
                  <c:v>45.04</c:v>
                </c:pt>
                <c:pt idx="1399">
                  <c:v>55.34</c:v>
                </c:pt>
                <c:pt idx="1400">
                  <c:v>47.37</c:v>
                </c:pt>
                <c:pt idx="1401">
                  <c:v>58.61</c:v>
                </c:pt>
                <c:pt idx="1402">
                  <c:v>52.67</c:v>
                </c:pt>
                <c:pt idx="1403">
                  <c:v>55.98</c:v>
                </c:pt>
                <c:pt idx="1404">
                  <c:v>47.63</c:v>
                </c:pt>
                <c:pt idx="1405">
                  <c:v>46.08</c:v>
                </c:pt>
                <c:pt idx="1406">
                  <c:v>56.3</c:v>
                </c:pt>
                <c:pt idx="1407">
                  <c:v>56.87</c:v>
                </c:pt>
                <c:pt idx="1408">
                  <c:v>59.41</c:v>
                </c:pt>
                <c:pt idx="1409">
                  <c:v>58.95</c:v>
                </c:pt>
                <c:pt idx="1410">
                  <c:v>50.91</c:v>
                </c:pt>
                <c:pt idx="1411">
                  <c:v>49.2</c:v>
                </c:pt>
                <c:pt idx="1412">
                  <c:v>45.65</c:v>
                </c:pt>
                <c:pt idx="1413">
                  <c:v>62.43</c:v>
                </c:pt>
                <c:pt idx="1414">
                  <c:v>62.13</c:v>
                </c:pt>
                <c:pt idx="1415">
                  <c:v>61.78</c:v>
                </c:pt>
                <c:pt idx="1416">
                  <c:v>63.21</c:v>
                </c:pt>
                <c:pt idx="1417">
                  <c:v>61.95</c:v>
                </c:pt>
                <c:pt idx="1418">
                  <c:v>51.84</c:v>
                </c:pt>
                <c:pt idx="1419">
                  <c:v>49.13</c:v>
                </c:pt>
                <c:pt idx="1420">
                  <c:v>64.22</c:v>
                </c:pt>
                <c:pt idx="1421">
                  <c:v>63.89</c:v>
                </c:pt>
                <c:pt idx="1422">
                  <c:v>65.27</c:v>
                </c:pt>
                <c:pt idx="1423">
                  <c:v>61.07</c:v>
                </c:pt>
                <c:pt idx="1424">
                  <c:v>55.71</c:v>
                </c:pt>
                <c:pt idx="1425">
                  <c:v>45.93</c:v>
                </c:pt>
                <c:pt idx="1426">
                  <c:v>33.92</c:v>
                </c:pt>
                <c:pt idx="1427">
                  <c:v>58.99</c:v>
                </c:pt>
                <c:pt idx="1428">
                  <c:v>55.97</c:v>
                </c:pt>
                <c:pt idx="1429">
                  <c:v>57.67</c:v>
                </c:pt>
                <c:pt idx="1430">
                  <c:v>52.76</c:v>
                </c:pt>
                <c:pt idx="1431">
                  <c:v>53.02</c:v>
                </c:pt>
                <c:pt idx="1432">
                  <c:v>46.32</c:v>
                </c:pt>
                <c:pt idx="1433">
                  <c:v>36.75</c:v>
                </c:pt>
                <c:pt idx="1434">
                  <c:v>46.05</c:v>
                </c:pt>
                <c:pt idx="1435">
                  <c:v>49.59</c:v>
                </c:pt>
                <c:pt idx="1436">
                  <c:v>48.95</c:v>
                </c:pt>
                <c:pt idx="1437">
                  <c:v>46.41</c:v>
                </c:pt>
                <c:pt idx="1438">
                  <c:v>42.59</c:v>
                </c:pt>
                <c:pt idx="1439">
                  <c:v>46.13</c:v>
                </c:pt>
                <c:pt idx="1440">
                  <c:v>45.39</c:v>
                </c:pt>
                <c:pt idx="1441">
                  <c:v>49.84</c:v>
                </c:pt>
                <c:pt idx="1442">
                  <c:v>45.64</c:v>
                </c:pt>
                <c:pt idx="1443">
                  <c:v>45.98</c:v>
                </c:pt>
                <c:pt idx="1444">
                  <c:v>45.99</c:v>
                </c:pt>
                <c:pt idx="1445">
                  <c:v>48.13</c:v>
                </c:pt>
                <c:pt idx="1446">
                  <c:v>33.200000000000003</c:v>
                </c:pt>
                <c:pt idx="1447">
                  <c:v>34.15</c:v>
                </c:pt>
                <c:pt idx="1448">
                  <c:v>48.89</c:v>
                </c:pt>
                <c:pt idx="1449">
                  <c:v>47.54</c:v>
                </c:pt>
                <c:pt idx="1450">
                  <c:v>49.83</c:v>
                </c:pt>
                <c:pt idx="1451">
                  <c:v>49.65</c:v>
                </c:pt>
                <c:pt idx="1452">
                  <c:v>46.49</c:v>
                </c:pt>
                <c:pt idx="1453">
                  <c:v>28.16</c:v>
                </c:pt>
                <c:pt idx="1454">
                  <c:v>15.69</c:v>
                </c:pt>
                <c:pt idx="1455">
                  <c:v>27.67</c:v>
                </c:pt>
                <c:pt idx="1456">
                  <c:v>42.67</c:v>
                </c:pt>
                <c:pt idx="1457">
                  <c:v>44.33</c:v>
                </c:pt>
                <c:pt idx="1458">
                  <c:v>33.82</c:v>
                </c:pt>
                <c:pt idx="1459">
                  <c:v>39.01</c:v>
                </c:pt>
                <c:pt idx="1460">
                  <c:v>39.19</c:v>
                </c:pt>
                <c:pt idx="1461">
                  <c:v>18.190000000000001</c:v>
                </c:pt>
                <c:pt idx="1462">
                  <c:v>33.82</c:v>
                </c:pt>
                <c:pt idx="1463">
                  <c:v>35.03</c:v>
                </c:pt>
                <c:pt idx="1464">
                  <c:v>32.159999999999997</c:v>
                </c:pt>
                <c:pt idx="1465">
                  <c:v>20.350000000000001</c:v>
                </c:pt>
                <c:pt idx="1466">
                  <c:v>36.26</c:v>
                </c:pt>
                <c:pt idx="1467">
                  <c:v>32.58</c:v>
                </c:pt>
                <c:pt idx="1468">
                  <c:v>26.83</c:v>
                </c:pt>
                <c:pt idx="1469">
                  <c:v>47.91</c:v>
                </c:pt>
                <c:pt idx="1470">
                  <c:v>45.77</c:v>
                </c:pt>
                <c:pt idx="1471">
                  <c:v>47.83</c:v>
                </c:pt>
                <c:pt idx="1472">
                  <c:v>43.1</c:v>
                </c:pt>
                <c:pt idx="1473">
                  <c:v>36.69</c:v>
                </c:pt>
                <c:pt idx="1474">
                  <c:v>40.06</c:v>
                </c:pt>
                <c:pt idx="1475">
                  <c:v>41.58</c:v>
                </c:pt>
                <c:pt idx="1476">
                  <c:v>49.51</c:v>
                </c:pt>
                <c:pt idx="1477">
                  <c:v>50.02</c:v>
                </c:pt>
                <c:pt idx="1478">
                  <c:v>45.37</c:v>
                </c:pt>
                <c:pt idx="1479">
                  <c:v>45.16</c:v>
                </c:pt>
                <c:pt idx="1480">
                  <c:v>42.73</c:v>
                </c:pt>
                <c:pt idx="1481">
                  <c:v>37.61</c:v>
                </c:pt>
                <c:pt idx="1482">
                  <c:v>13.66</c:v>
                </c:pt>
                <c:pt idx="1483">
                  <c:v>44.01</c:v>
                </c:pt>
                <c:pt idx="1484">
                  <c:v>49.35</c:v>
                </c:pt>
                <c:pt idx="1485">
                  <c:v>47.16</c:v>
                </c:pt>
                <c:pt idx="1486">
                  <c:v>45.18</c:v>
                </c:pt>
                <c:pt idx="1487">
                  <c:v>48.76</c:v>
                </c:pt>
                <c:pt idx="1488">
                  <c:v>45.34</c:v>
                </c:pt>
                <c:pt idx="1489">
                  <c:v>41.5</c:v>
                </c:pt>
                <c:pt idx="1490">
                  <c:v>44.31</c:v>
                </c:pt>
                <c:pt idx="1491">
                  <c:v>48.72</c:v>
                </c:pt>
                <c:pt idx="1492">
                  <c:v>51.21</c:v>
                </c:pt>
                <c:pt idx="1493">
                  <c:v>62.34</c:v>
                </c:pt>
                <c:pt idx="1494">
                  <c:v>63.81</c:v>
                </c:pt>
                <c:pt idx="1495">
                  <c:v>51.38</c:v>
                </c:pt>
                <c:pt idx="1496">
                  <c:v>44.33</c:v>
                </c:pt>
                <c:pt idx="1497">
                  <c:v>78.95</c:v>
                </c:pt>
                <c:pt idx="1498">
                  <c:v>78.12</c:v>
                </c:pt>
                <c:pt idx="1499">
                  <c:v>98.98</c:v>
                </c:pt>
                <c:pt idx="1500">
                  <c:v>76.489999999999995</c:v>
                </c:pt>
                <c:pt idx="1501">
                  <c:v>82.48</c:v>
                </c:pt>
                <c:pt idx="1502">
                  <c:v>53.19</c:v>
                </c:pt>
                <c:pt idx="1503">
                  <c:v>42.5</c:v>
                </c:pt>
                <c:pt idx="1504">
                  <c:v>84.43</c:v>
                </c:pt>
                <c:pt idx="1505">
                  <c:v>63.87</c:v>
                </c:pt>
                <c:pt idx="1506">
                  <c:v>35.979999999999997</c:v>
                </c:pt>
                <c:pt idx="1507">
                  <c:v>54.89</c:v>
                </c:pt>
                <c:pt idx="1508">
                  <c:v>48.07</c:v>
                </c:pt>
                <c:pt idx="1509">
                  <c:v>42.1</c:v>
                </c:pt>
                <c:pt idx="1510">
                  <c:v>28.75</c:v>
                </c:pt>
                <c:pt idx="1511">
                  <c:v>50.64</c:v>
                </c:pt>
                <c:pt idx="1512">
                  <c:v>43.62</c:v>
                </c:pt>
                <c:pt idx="1513">
                  <c:v>43.79</c:v>
                </c:pt>
                <c:pt idx="1514">
                  <c:v>41.03</c:v>
                </c:pt>
                <c:pt idx="1515">
                  <c:v>44.78</c:v>
                </c:pt>
                <c:pt idx="1516">
                  <c:v>40.299999999999997</c:v>
                </c:pt>
                <c:pt idx="1517">
                  <c:v>42.77</c:v>
                </c:pt>
                <c:pt idx="1518">
                  <c:v>47.26</c:v>
                </c:pt>
                <c:pt idx="1519">
                  <c:v>47.42</c:v>
                </c:pt>
                <c:pt idx="1520">
                  <c:v>49.33</c:v>
                </c:pt>
                <c:pt idx="1521">
                  <c:v>47.45</c:v>
                </c:pt>
                <c:pt idx="1522">
                  <c:v>49.04</c:v>
                </c:pt>
                <c:pt idx="1523">
                  <c:v>39.380000000000003</c:v>
                </c:pt>
                <c:pt idx="1524">
                  <c:v>37.47</c:v>
                </c:pt>
                <c:pt idx="1525">
                  <c:v>44.55</c:v>
                </c:pt>
                <c:pt idx="1526">
                  <c:v>48.55</c:v>
                </c:pt>
                <c:pt idx="1527">
                  <c:v>43.25</c:v>
                </c:pt>
                <c:pt idx="1528">
                  <c:v>45.9</c:v>
                </c:pt>
                <c:pt idx="1529">
                  <c:v>47.74</c:v>
                </c:pt>
                <c:pt idx="1530">
                  <c:v>41.74</c:v>
                </c:pt>
                <c:pt idx="1531">
                  <c:v>31.68</c:v>
                </c:pt>
                <c:pt idx="1532">
                  <c:v>45.05</c:v>
                </c:pt>
                <c:pt idx="1533">
                  <c:v>47.9</c:v>
                </c:pt>
                <c:pt idx="1534">
                  <c:v>46.74</c:v>
                </c:pt>
                <c:pt idx="1535">
                  <c:v>47.47</c:v>
                </c:pt>
                <c:pt idx="1536">
                  <c:v>43.68</c:v>
                </c:pt>
                <c:pt idx="1537">
                  <c:v>40.22</c:v>
                </c:pt>
                <c:pt idx="1538">
                  <c:v>34.4</c:v>
                </c:pt>
                <c:pt idx="1539">
                  <c:v>46.02</c:v>
                </c:pt>
                <c:pt idx="1540">
                  <c:v>43.44</c:v>
                </c:pt>
                <c:pt idx="1541">
                  <c:v>45.56</c:v>
                </c:pt>
                <c:pt idx="1542">
                  <c:v>45.35</c:v>
                </c:pt>
                <c:pt idx="1543">
                  <c:v>41.75</c:v>
                </c:pt>
                <c:pt idx="1544">
                  <c:v>38.630000000000003</c:v>
                </c:pt>
                <c:pt idx="1545">
                  <c:v>25.37</c:v>
                </c:pt>
                <c:pt idx="1546">
                  <c:v>41.6</c:v>
                </c:pt>
                <c:pt idx="1547">
                  <c:v>39.4</c:v>
                </c:pt>
                <c:pt idx="1548">
                  <c:v>39.26</c:v>
                </c:pt>
                <c:pt idx="1549">
                  <c:v>31.62</c:v>
                </c:pt>
                <c:pt idx="1550">
                  <c:v>35.56</c:v>
                </c:pt>
                <c:pt idx="1551">
                  <c:v>19.239999999999998</c:v>
                </c:pt>
                <c:pt idx="1552">
                  <c:v>24.1</c:v>
                </c:pt>
                <c:pt idx="1553">
                  <c:v>43.54</c:v>
                </c:pt>
                <c:pt idx="1554">
                  <c:v>50.55</c:v>
                </c:pt>
                <c:pt idx="1555">
                  <c:v>47.77</c:v>
                </c:pt>
                <c:pt idx="1556">
                  <c:v>50.02</c:v>
                </c:pt>
                <c:pt idx="1557">
                  <c:v>41.77</c:v>
                </c:pt>
                <c:pt idx="1558">
                  <c:v>39.450000000000003</c:v>
                </c:pt>
                <c:pt idx="1559">
                  <c:v>35.200000000000003</c:v>
                </c:pt>
                <c:pt idx="1560">
                  <c:v>21.86</c:v>
                </c:pt>
                <c:pt idx="1561">
                  <c:v>40.67</c:v>
                </c:pt>
                <c:pt idx="1562">
                  <c:v>53.86</c:v>
                </c:pt>
                <c:pt idx="1563">
                  <c:v>52.96</c:v>
                </c:pt>
                <c:pt idx="1564">
                  <c:v>56.68</c:v>
                </c:pt>
                <c:pt idx="1565">
                  <c:v>45.09</c:v>
                </c:pt>
                <c:pt idx="1566">
                  <c:v>34.369999999999997</c:v>
                </c:pt>
                <c:pt idx="1567">
                  <c:v>45.26</c:v>
                </c:pt>
                <c:pt idx="1568">
                  <c:v>51.5</c:v>
                </c:pt>
                <c:pt idx="1569">
                  <c:v>50.88</c:v>
                </c:pt>
                <c:pt idx="1570">
                  <c:v>50.4</c:v>
                </c:pt>
                <c:pt idx="1571">
                  <c:v>53.87</c:v>
                </c:pt>
                <c:pt idx="1572">
                  <c:v>42.16</c:v>
                </c:pt>
                <c:pt idx="1573">
                  <c:v>37.78</c:v>
                </c:pt>
                <c:pt idx="1574">
                  <c:v>51.39</c:v>
                </c:pt>
                <c:pt idx="1575">
                  <c:v>51.21</c:v>
                </c:pt>
                <c:pt idx="1576">
                  <c:v>44.1</c:v>
                </c:pt>
                <c:pt idx="1577">
                  <c:v>41.63</c:v>
                </c:pt>
                <c:pt idx="1578">
                  <c:v>46.9</c:v>
                </c:pt>
                <c:pt idx="1579">
                  <c:v>37.22</c:v>
                </c:pt>
                <c:pt idx="1580">
                  <c:v>22.46</c:v>
                </c:pt>
                <c:pt idx="1581">
                  <c:v>42.3</c:v>
                </c:pt>
                <c:pt idx="1582">
                  <c:v>23.78</c:v>
                </c:pt>
                <c:pt idx="1583">
                  <c:v>48.18</c:v>
                </c:pt>
                <c:pt idx="1584">
                  <c:v>50.29</c:v>
                </c:pt>
                <c:pt idx="1585">
                  <c:v>42.93</c:v>
                </c:pt>
                <c:pt idx="1586">
                  <c:v>36.770000000000003</c:v>
                </c:pt>
                <c:pt idx="1587">
                  <c:v>32.68</c:v>
                </c:pt>
                <c:pt idx="1588">
                  <c:v>47.38</c:v>
                </c:pt>
                <c:pt idx="1589">
                  <c:v>40.340000000000003</c:v>
                </c:pt>
                <c:pt idx="1590">
                  <c:v>48.67</c:v>
                </c:pt>
                <c:pt idx="1591">
                  <c:v>43.12</c:v>
                </c:pt>
                <c:pt idx="1592">
                  <c:v>38.83</c:v>
                </c:pt>
                <c:pt idx="1593">
                  <c:v>35.380000000000003</c:v>
                </c:pt>
                <c:pt idx="1594">
                  <c:v>31.2</c:v>
                </c:pt>
                <c:pt idx="1595">
                  <c:v>44.67</c:v>
                </c:pt>
                <c:pt idx="1596">
                  <c:v>49.19</c:v>
                </c:pt>
                <c:pt idx="1597">
                  <c:v>40.869999999999997</c:v>
                </c:pt>
                <c:pt idx="1598">
                  <c:v>30.41</c:v>
                </c:pt>
                <c:pt idx="1599">
                  <c:v>35.49</c:v>
                </c:pt>
                <c:pt idx="1600">
                  <c:v>36.520000000000003</c:v>
                </c:pt>
                <c:pt idx="1601">
                  <c:v>25.06</c:v>
                </c:pt>
                <c:pt idx="1602">
                  <c:v>39.049999999999997</c:v>
                </c:pt>
                <c:pt idx="1603">
                  <c:v>46.12</c:v>
                </c:pt>
                <c:pt idx="1604">
                  <c:v>43.47</c:v>
                </c:pt>
                <c:pt idx="1605">
                  <c:v>43.17</c:v>
                </c:pt>
                <c:pt idx="1606">
                  <c:v>38.68</c:v>
                </c:pt>
                <c:pt idx="1607">
                  <c:v>29.89</c:v>
                </c:pt>
                <c:pt idx="1608">
                  <c:v>20.46</c:v>
                </c:pt>
                <c:pt idx="1609">
                  <c:v>25.63</c:v>
                </c:pt>
                <c:pt idx="1610">
                  <c:v>41.12</c:v>
                </c:pt>
                <c:pt idx="1611">
                  <c:v>46.08</c:v>
                </c:pt>
                <c:pt idx="1612">
                  <c:v>48.92</c:v>
                </c:pt>
                <c:pt idx="1613">
                  <c:v>38.15</c:v>
                </c:pt>
                <c:pt idx="1614">
                  <c:v>30.26</c:v>
                </c:pt>
                <c:pt idx="1615">
                  <c:v>30.95</c:v>
                </c:pt>
                <c:pt idx="1616">
                  <c:v>46.51</c:v>
                </c:pt>
                <c:pt idx="1617">
                  <c:v>41.75</c:v>
                </c:pt>
                <c:pt idx="1618">
                  <c:v>48.5</c:v>
                </c:pt>
                <c:pt idx="1619">
                  <c:v>37.479999999999997</c:v>
                </c:pt>
                <c:pt idx="1620">
                  <c:v>38.03</c:v>
                </c:pt>
                <c:pt idx="1621">
                  <c:v>23.04</c:v>
                </c:pt>
                <c:pt idx="1622">
                  <c:v>24.37</c:v>
                </c:pt>
                <c:pt idx="1623">
                  <c:v>45.57</c:v>
                </c:pt>
                <c:pt idx="1624">
                  <c:v>48.86</c:v>
                </c:pt>
                <c:pt idx="1625">
                  <c:v>48.03</c:v>
                </c:pt>
                <c:pt idx="1626">
                  <c:v>47.89</c:v>
                </c:pt>
                <c:pt idx="1627">
                  <c:v>39.729999999999997</c:v>
                </c:pt>
                <c:pt idx="1628">
                  <c:v>27.95</c:v>
                </c:pt>
                <c:pt idx="1629">
                  <c:v>22</c:v>
                </c:pt>
                <c:pt idx="1630">
                  <c:v>38.24</c:v>
                </c:pt>
                <c:pt idx="1631">
                  <c:v>47.58</c:v>
                </c:pt>
                <c:pt idx="1632">
                  <c:v>50.89</c:v>
                </c:pt>
                <c:pt idx="1633">
                  <c:v>48.61</c:v>
                </c:pt>
                <c:pt idx="1634">
                  <c:v>39.22</c:v>
                </c:pt>
                <c:pt idx="1635">
                  <c:v>32.14</c:v>
                </c:pt>
                <c:pt idx="1636">
                  <c:v>18.59</c:v>
                </c:pt>
                <c:pt idx="1637">
                  <c:v>32.25</c:v>
                </c:pt>
                <c:pt idx="1638">
                  <c:v>37.450000000000003</c:v>
                </c:pt>
                <c:pt idx="1639">
                  <c:v>48.97</c:v>
                </c:pt>
                <c:pt idx="1640">
                  <c:v>47.53</c:v>
                </c:pt>
                <c:pt idx="1641">
                  <c:v>46.52</c:v>
                </c:pt>
                <c:pt idx="1642">
                  <c:v>37.18</c:v>
                </c:pt>
                <c:pt idx="1643">
                  <c:v>25.09</c:v>
                </c:pt>
                <c:pt idx="1644">
                  <c:v>44.47</c:v>
                </c:pt>
                <c:pt idx="1645">
                  <c:v>49.63</c:v>
                </c:pt>
                <c:pt idx="1646">
                  <c:v>47.37</c:v>
                </c:pt>
                <c:pt idx="1647">
                  <c:v>46.29</c:v>
                </c:pt>
                <c:pt idx="1648">
                  <c:v>48.53</c:v>
                </c:pt>
                <c:pt idx="1649">
                  <c:v>39.75</c:v>
                </c:pt>
                <c:pt idx="1650">
                  <c:v>24.68</c:v>
                </c:pt>
                <c:pt idx="1651">
                  <c:v>40.79</c:v>
                </c:pt>
                <c:pt idx="1652">
                  <c:v>47.72</c:v>
                </c:pt>
                <c:pt idx="1653">
                  <c:v>45.3</c:v>
                </c:pt>
                <c:pt idx="1654">
                  <c:v>39.65</c:v>
                </c:pt>
                <c:pt idx="1655">
                  <c:v>46.04</c:v>
                </c:pt>
                <c:pt idx="1656">
                  <c:v>31.72</c:v>
                </c:pt>
                <c:pt idx="1657">
                  <c:v>26.19</c:v>
                </c:pt>
                <c:pt idx="1658">
                  <c:v>38.42</c:v>
                </c:pt>
                <c:pt idx="1659">
                  <c:v>44.49</c:v>
                </c:pt>
                <c:pt idx="1660">
                  <c:v>43.81</c:v>
                </c:pt>
                <c:pt idx="1661">
                  <c:v>40.25</c:v>
                </c:pt>
                <c:pt idx="1662">
                  <c:v>45.46</c:v>
                </c:pt>
                <c:pt idx="1663">
                  <c:v>38.39</c:v>
                </c:pt>
                <c:pt idx="1664">
                  <c:v>28.09</c:v>
                </c:pt>
                <c:pt idx="1665">
                  <c:v>42.73</c:v>
                </c:pt>
                <c:pt idx="1666">
                  <c:v>45.54</c:v>
                </c:pt>
                <c:pt idx="1667">
                  <c:v>49.36</c:v>
                </c:pt>
                <c:pt idx="1668">
                  <c:v>49.58</c:v>
                </c:pt>
                <c:pt idx="1669">
                  <c:v>48.63</c:v>
                </c:pt>
                <c:pt idx="1670">
                  <c:v>38.67</c:v>
                </c:pt>
                <c:pt idx="1671">
                  <c:v>30.65</c:v>
                </c:pt>
                <c:pt idx="1672">
                  <c:v>39.869999999999997</c:v>
                </c:pt>
                <c:pt idx="1673">
                  <c:v>44.46</c:v>
                </c:pt>
                <c:pt idx="1674">
                  <c:v>41.49</c:v>
                </c:pt>
                <c:pt idx="1675">
                  <c:v>42.59</c:v>
                </c:pt>
                <c:pt idx="1676">
                  <c:v>46.74</c:v>
                </c:pt>
                <c:pt idx="1677">
                  <c:v>40.159999999999997</c:v>
                </c:pt>
                <c:pt idx="1678">
                  <c:v>35.99</c:v>
                </c:pt>
                <c:pt idx="1679">
                  <c:v>43.67</c:v>
                </c:pt>
                <c:pt idx="1680">
                  <c:v>38.119999999999997</c:v>
                </c:pt>
                <c:pt idx="1681">
                  <c:v>44.22</c:v>
                </c:pt>
                <c:pt idx="1682">
                  <c:v>47.12</c:v>
                </c:pt>
                <c:pt idx="1683">
                  <c:v>44.85</c:v>
                </c:pt>
                <c:pt idx="1684">
                  <c:v>41.03</c:v>
                </c:pt>
                <c:pt idx="1685">
                  <c:v>26.47</c:v>
                </c:pt>
                <c:pt idx="1686">
                  <c:v>45.16</c:v>
                </c:pt>
                <c:pt idx="1687">
                  <c:v>47.92</c:v>
                </c:pt>
                <c:pt idx="1688">
                  <c:v>41.48</c:v>
                </c:pt>
                <c:pt idx="1689">
                  <c:v>51.45</c:v>
                </c:pt>
                <c:pt idx="1690">
                  <c:v>51.78</c:v>
                </c:pt>
                <c:pt idx="1691">
                  <c:v>40.5</c:v>
                </c:pt>
                <c:pt idx="1692">
                  <c:v>36.75</c:v>
                </c:pt>
                <c:pt idx="1693">
                  <c:v>49.93</c:v>
                </c:pt>
                <c:pt idx="1694">
                  <c:v>61.03</c:v>
                </c:pt>
                <c:pt idx="1695">
                  <c:v>49.38</c:v>
                </c:pt>
                <c:pt idx="1696">
                  <c:v>53.29</c:v>
                </c:pt>
                <c:pt idx="1697">
                  <c:v>51.33</c:v>
                </c:pt>
                <c:pt idx="1698">
                  <c:v>42.65</c:v>
                </c:pt>
                <c:pt idx="1699">
                  <c:v>24.8</c:v>
                </c:pt>
                <c:pt idx="1700">
                  <c:v>47.88</c:v>
                </c:pt>
                <c:pt idx="1701">
                  <c:v>49.45</c:v>
                </c:pt>
                <c:pt idx="1702">
                  <c:v>52.23</c:v>
                </c:pt>
                <c:pt idx="1703">
                  <c:v>52.52</c:v>
                </c:pt>
                <c:pt idx="1704">
                  <c:v>49.86</c:v>
                </c:pt>
                <c:pt idx="1705">
                  <c:v>43.82</c:v>
                </c:pt>
                <c:pt idx="1706">
                  <c:v>34.28</c:v>
                </c:pt>
                <c:pt idx="1707">
                  <c:v>50.81</c:v>
                </c:pt>
                <c:pt idx="1708">
                  <c:v>49.1</c:v>
                </c:pt>
                <c:pt idx="1709">
                  <c:v>49.62</c:v>
                </c:pt>
                <c:pt idx="1710">
                  <c:v>50.07</c:v>
                </c:pt>
                <c:pt idx="1711">
                  <c:v>45.4</c:v>
                </c:pt>
                <c:pt idx="1712">
                  <c:v>46.99</c:v>
                </c:pt>
                <c:pt idx="1713">
                  <c:v>38.56</c:v>
                </c:pt>
                <c:pt idx="1714">
                  <c:v>51.29</c:v>
                </c:pt>
                <c:pt idx="1715">
                  <c:v>53.52</c:v>
                </c:pt>
                <c:pt idx="1716">
                  <c:v>55.87</c:v>
                </c:pt>
                <c:pt idx="1717">
                  <c:v>52.74</c:v>
                </c:pt>
                <c:pt idx="1718">
                  <c:v>33.33</c:v>
                </c:pt>
                <c:pt idx="1719">
                  <c:v>38.270000000000003</c:v>
                </c:pt>
                <c:pt idx="1720">
                  <c:v>33.69</c:v>
                </c:pt>
                <c:pt idx="1721">
                  <c:v>50.13</c:v>
                </c:pt>
                <c:pt idx="1722">
                  <c:v>53.19</c:v>
                </c:pt>
                <c:pt idx="1723">
                  <c:v>51.57</c:v>
                </c:pt>
                <c:pt idx="1724">
                  <c:v>50.44</c:v>
                </c:pt>
                <c:pt idx="1725">
                  <c:v>48.85</c:v>
                </c:pt>
                <c:pt idx="1726">
                  <c:v>38.450000000000003</c:v>
                </c:pt>
                <c:pt idx="1727">
                  <c:v>33.130000000000003</c:v>
                </c:pt>
                <c:pt idx="1728">
                  <c:v>39.380000000000003</c:v>
                </c:pt>
                <c:pt idx="1729">
                  <c:v>44.42</c:v>
                </c:pt>
                <c:pt idx="1730">
                  <c:v>49.89</c:v>
                </c:pt>
                <c:pt idx="1731">
                  <c:v>47.66</c:v>
                </c:pt>
                <c:pt idx="1732">
                  <c:v>43.36</c:v>
                </c:pt>
                <c:pt idx="1733">
                  <c:v>34.700000000000003</c:v>
                </c:pt>
                <c:pt idx="1734">
                  <c:v>27.62</c:v>
                </c:pt>
                <c:pt idx="1735">
                  <c:v>50.93</c:v>
                </c:pt>
                <c:pt idx="1736">
                  <c:v>47.47</c:v>
                </c:pt>
                <c:pt idx="1737">
                  <c:v>29.75</c:v>
                </c:pt>
                <c:pt idx="1738">
                  <c:v>47.77</c:v>
                </c:pt>
                <c:pt idx="1739">
                  <c:v>40.58</c:v>
                </c:pt>
                <c:pt idx="1740">
                  <c:v>38.840000000000003</c:v>
                </c:pt>
                <c:pt idx="1741">
                  <c:v>33.119999999999997</c:v>
                </c:pt>
                <c:pt idx="1742">
                  <c:v>41.12</c:v>
                </c:pt>
                <c:pt idx="1743">
                  <c:v>44.9</c:v>
                </c:pt>
                <c:pt idx="1744">
                  <c:v>51.55</c:v>
                </c:pt>
                <c:pt idx="1745">
                  <c:v>52.69</c:v>
                </c:pt>
                <c:pt idx="1746">
                  <c:v>46.95</c:v>
                </c:pt>
                <c:pt idx="1747">
                  <c:v>36.979999999999997</c:v>
                </c:pt>
                <c:pt idx="1748">
                  <c:v>30.27</c:v>
                </c:pt>
                <c:pt idx="1749">
                  <c:v>43.52</c:v>
                </c:pt>
                <c:pt idx="1750">
                  <c:v>42.45</c:v>
                </c:pt>
                <c:pt idx="1751">
                  <c:v>42.07</c:v>
                </c:pt>
                <c:pt idx="1752">
                  <c:v>41.01</c:v>
                </c:pt>
                <c:pt idx="1753">
                  <c:v>44.76</c:v>
                </c:pt>
                <c:pt idx="1754">
                  <c:v>38.11</c:v>
                </c:pt>
                <c:pt idx="1755">
                  <c:v>37.200000000000003</c:v>
                </c:pt>
                <c:pt idx="1756">
                  <c:v>49.21</c:v>
                </c:pt>
                <c:pt idx="1757">
                  <c:v>51.09</c:v>
                </c:pt>
                <c:pt idx="1758">
                  <c:v>54.83</c:v>
                </c:pt>
                <c:pt idx="1759">
                  <c:v>50.13</c:v>
                </c:pt>
                <c:pt idx="1760">
                  <c:v>51.47</c:v>
                </c:pt>
                <c:pt idx="1761">
                  <c:v>39.57</c:v>
                </c:pt>
                <c:pt idx="1762">
                  <c:v>37.33</c:v>
                </c:pt>
                <c:pt idx="1763">
                  <c:v>42.64</c:v>
                </c:pt>
                <c:pt idx="1764">
                  <c:v>55.52</c:v>
                </c:pt>
                <c:pt idx="1765">
                  <c:v>48.04</c:v>
                </c:pt>
                <c:pt idx="1766">
                  <c:v>33.14</c:v>
                </c:pt>
                <c:pt idx="1767">
                  <c:v>35.01</c:v>
                </c:pt>
                <c:pt idx="1768">
                  <c:v>35.479999999999997</c:v>
                </c:pt>
                <c:pt idx="1769">
                  <c:v>28.45</c:v>
                </c:pt>
                <c:pt idx="1770">
                  <c:v>43.11</c:v>
                </c:pt>
                <c:pt idx="1771">
                  <c:v>43.59</c:v>
                </c:pt>
                <c:pt idx="1772">
                  <c:v>35.46</c:v>
                </c:pt>
                <c:pt idx="1773">
                  <c:v>39.81</c:v>
                </c:pt>
                <c:pt idx="1774">
                  <c:v>51.02</c:v>
                </c:pt>
                <c:pt idx="1775">
                  <c:v>39.51</c:v>
                </c:pt>
                <c:pt idx="1776">
                  <c:v>34.72</c:v>
                </c:pt>
                <c:pt idx="1777">
                  <c:v>52.56</c:v>
                </c:pt>
                <c:pt idx="1778">
                  <c:v>52.05</c:v>
                </c:pt>
                <c:pt idx="1779">
                  <c:v>50.89</c:v>
                </c:pt>
                <c:pt idx="1780">
                  <c:v>55.55</c:v>
                </c:pt>
                <c:pt idx="1781">
                  <c:v>52.09</c:v>
                </c:pt>
                <c:pt idx="1782">
                  <c:v>40.94</c:v>
                </c:pt>
                <c:pt idx="1783">
                  <c:v>42.61</c:v>
                </c:pt>
                <c:pt idx="1784">
                  <c:v>54.26</c:v>
                </c:pt>
                <c:pt idx="1785">
                  <c:v>52.2</c:v>
                </c:pt>
                <c:pt idx="1786">
                  <c:v>50.4</c:v>
                </c:pt>
                <c:pt idx="1787">
                  <c:v>48.8</c:v>
                </c:pt>
                <c:pt idx="1788">
                  <c:v>47.34</c:v>
                </c:pt>
                <c:pt idx="1789">
                  <c:v>41.61</c:v>
                </c:pt>
                <c:pt idx="1790">
                  <c:v>19.91</c:v>
                </c:pt>
                <c:pt idx="1791">
                  <c:v>44.22</c:v>
                </c:pt>
                <c:pt idx="1792">
                  <c:v>55.49</c:v>
                </c:pt>
                <c:pt idx="1793">
                  <c:v>52.95</c:v>
                </c:pt>
                <c:pt idx="1794">
                  <c:v>52.74</c:v>
                </c:pt>
                <c:pt idx="1795">
                  <c:v>57.69</c:v>
                </c:pt>
                <c:pt idx="1796">
                  <c:v>46.01</c:v>
                </c:pt>
                <c:pt idx="1797">
                  <c:v>41.11</c:v>
                </c:pt>
                <c:pt idx="1798">
                  <c:v>51.26</c:v>
                </c:pt>
                <c:pt idx="1799">
                  <c:v>47.38</c:v>
                </c:pt>
                <c:pt idx="1800">
                  <c:v>54.86</c:v>
                </c:pt>
                <c:pt idx="1801">
                  <c:v>53.9</c:v>
                </c:pt>
                <c:pt idx="1802">
                  <c:v>52.9</c:v>
                </c:pt>
                <c:pt idx="1803">
                  <c:v>50.12</c:v>
                </c:pt>
                <c:pt idx="1804">
                  <c:v>35.08</c:v>
                </c:pt>
                <c:pt idx="1805">
                  <c:v>52.95</c:v>
                </c:pt>
                <c:pt idx="1806">
                  <c:v>60.32</c:v>
                </c:pt>
                <c:pt idx="1807">
                  <c:v>72.069999999999993</c:v>
                </c:pt>
                <c:pt idx="1808">
                  <c:v>65.44</c:v>
                </c:pt>
                <c:pt idx="1809">
                  <c:v>49.35</c:v>
                </c:pt>
                <c:pt idx="1810">
                  <c:v>33.880000000000003</c:v>
                </c:pt>
                <c:pt idx="1811">
                  <c:v>33.24</c:v>
                </c:pt>
                <c:pt idx="1812">
                  <c:v>53.28</c:v>
                </c:pt>
                <c:pt idx="1813">
                  <c:v>55.24</c:v>
                </c:pt>
                <c:pt idx="1814">
                  <c:v>52.97</c:v>
                </c:pt>
                <c:pt idx="1815">
                  <c:v>46.73</c:v>
                </c:pt>
                <c:pt idx="1816">
                  <c:v>38.15</c:v>
                </c:pt>
                <c:pt idx="1817">
                  <c:v>37.36</c:v>
                </c:pt>
                <c:pt idx="1818">
                  <c:v>16.16</c:v>
                </c:pt>
                <c:pt idx="1819">
                  <c:v>16.600000000000001</c:v>
                </c:pt>
                <c:pt idx="1820">
                  <c:v>-56.87</c:v>
                </c:pt>
                <c:pt idx="1821">
                  <c:v>-45.77</c:v>
                </c:pt>
                <c:pt idx="1822">
                  <c:v>20.45</c:v>
                </c:pt>
                <c:pt idx="1823">
                  <c:v>31.3</c:v>
                </c:pt>
                <c:pt idx="1824">
                  <c:v>16.68</c:v>
                </c:pt>
                <c:pt idx="1825">
                  <c:v>10.37</c:v>
                </c:pt>
                <c:pt idx="1826">
                  <c:v>8.4</c:v>
                </c:pt>
                <c:pt idx="1827">
                  <c:v>17.93</c:v>
                </c:pt>
                <c:pt idx="1828">
                  <c:v>38.24</c:v>
                </c:pt>
                <c:pt idx="1829">
                  <c:v>33.770000000000003</c:v>
                </c:pt>
                <c:pt idx="1830">
                  <c:v>32.119999999999997</c:v>
                </c:pt>
                <c:pt idx="1831">
                  <c:v>33.03</c:v>
                </c:pt>
                <c:pt idx="1832">
                  <c:v>29.01</c:v>
                </c:pt>
                <c:pt idx="1833">
                  <c:v>52.4</c:v>
                </c:pt>
                <c:pt idx="1834">
                  <c:v>53.15</c:v>
                </c:pt>
                <c:pt idx="1835">
                  <c:v>51.97</c:v>
                </c:pt>
                <c:pt idx="1836">
                  <c:v>50.03</c:v>
                </c:pt>
                <c:pt idx="1837">
                  <c:v>52.8</c:v>
                </c:pt>
                <c:pt idx="1838">
                  <c:v>44.52</c:v>
                </c:pt>
                <c:pt idx="1839">
                  <c:v>38.81</c:v>
                </c:pt>
                <c:pt idx="1840">
                  <c:v>52.05</c:v>
                </c:pt>
                <c:pt idx="1841">
                  <c:v>55.85</c:v>
                </c:pt>
                <c:pt idx="1842">
                  <c:v>54.96</c:v>
                </c:pt>
                <c:pt idx="1843">
                  <c:v>53.44</c:v>
                </c:pt>
                <c:pt idx="1844">
                  <c:v>50.99</c:v>
                </c:pt>
                <c:pt idx="1845">
                  <c:v>39.44</c:v>
                </c:pt>
                <c:pt idx="1846">
                  <c:v>34.67</c:v>
                </c:pt>
                <c:pt idx="1847">
                  <c:v>47.59</c:v>
                </c:pt>
                <c:pt idx="1848">
                  <c:v>53.96</c:v>
                </c:pt>
                <c:pt idx="1849">
                  <c:v>59.74</c:v>
                </c:pt>
                <c:pt idx="1850">
                  <c:v>59.25</c:v>
                </c:pt>
                <c:pt idx="1851">
                  <c:v>52.26</c:v>
                </c:pt>
                <c:pt idx="1852">
                  <c:v>36.840000000000003</c:v>
                </c:pt>
                <c:pt idx="1853">
                  <c:v>31.12</c:v>
                </c:pt>
                <c:pt idx="1854">
                  <c:v>44.9</c:v>
                </c:pt>
                <c:pt idx="1855">
                  <c:v>32.270000000000003</c:v>
                </c:pt>
                <c:pt idx="1856">
                  <c:v>29.35</c:v>
                </c:pt>
                <c:pt idx="1857">
                  <c:v>26.06</c:v>
                </c:pt>
                <c:pt idx="1858">
                  <c:v>34.979999999999997</c:v>
                </c:pt>
                <c:pt idx="1859">
                  <c:v>35.53</c:v>
                </c:pt>
                <c:pt idx="1860">
                  <c:v>28.8</c:v>
                </c:pt>
                <c:pt idx="1861">
                  <c:v>32.35</c:v>
                </c:pt>
                <c:pt idx="1862">
                  <c:v>32.32</c:v>
                </c:pt>
                <c:pt idx="1863">
                  <c:v>46.83</c:v>
                </c:pt>
                <c:pt idx="1864">
                  <c:v>50.87</c:v>
                </c:pt>
                <c:pt idx="1865">
                  <c:v>49.44</c:v>
                </c:pt>
                <c:pt idx="1866">
                  <c:v>40.72</c:v>
                </c:pt>
                <c:pt idx="1867">
                  <c:v>35.03</c:v>
                </c:pt>
                <c:pt idx="1868">
                  <c:v>40.96</c:v>
                </c:pt>
                <c:pt idx="1869">
                  <c:v>49.46</c:v>
                </c:pt>
                <c:pt idx="1870">
                  <c:v>52.68</c:v>
                </c:pt>
                <c:pt idx="1871">
                  <c:v>46.66</c:v>
                </c:pt>
                <c:pt idx="1872">
                  <c:v>50.96</c:v>
                </c:pt>
                <c:pt idx="1873">
                  <c:v>41.29</c:v>
                </c:pt>
                <c:pt idx="1874">
                  <c:v>38.44</c:v>
                </c:pt>
                <c:pt idx="1875">
                  <c:v>53.53</c:v>
                </c:pt>
                <c:pt idx="1876">
                  <c:v>48.55</c:v>
                </c:pt>
                <c:pt idx="1877">
                  <c:v>46.19</c:v>
                </c:pt>
                <c:pt idx="1878">
                  <c:v>52.85</c:v>
                </c:pt>
                <c:pt idx="1879">
                  <c:v>47.95</c:v>
                </c:pt>
                <c:pt idx="1880">
                  <c:v>37.317900000000002</c:v>
                </c:pt>
                <c:pt idx="1881">
                  <c:v>33.75</c:v>
                </c:pt>
                <c:pt idx="1882">
                  <c:v>52.68</c:v>
                </c:pt>
                <c:pt idx="1883">
                  <c:v>55.49</c:v>
                </c:pt>
                <c:pt idx="1884">
                  <c:v>59.67</c:v>
                </c:pt>
                <c:pt idx="1885">
                  <c:v>53.96</c:v>
                </c:pt>
                <c:pt idx="1886">
                  <c:v>51.05</c:v>
                </c:pt>
                <c:pt idx="1887">
                  <c:v>42.29</c:v>
                </c:pt>
                <c:pt idx="1888">
                  <c:v>38.35</c:v>
                </c:pt>
                <c:pt idx="1889">
                  <c:v>48.9</c:v>
                </c:pt>
                <c:pt idx="1890">
                  <c:v>41.59</c:v>
                </c:pt>
                <c:pt idx="1891">
                  <c:v>49</c:v>
                </c:pt>
                <c:pt idx="1892">
                  <c:v>41.46</c:v>
                </c:pt>
                <c:pt idx="1893">
                  <c:v>36.24</c:v>
                </c:pt>
                <c:pt idx="1894">
                  <c:v>30.45</c:v>
                </c:pt>
                <c:pt idx="1895">
                  <c:v>18.57</c:v>
                </c:pt>
                <c:pt idx="1896">
                  <c:v>37.869999999999997</c:v>
                </c:pt>
                <c:pt idx="1897">
                  <c:v>46.53</c:v>
                </c:pt>
                <c:pt idx="1898">
                  <c:v>55.34</c:v>
                </c:pt>
                <c:pt idx="1899">
                  <c:v>53.34</c:v>
                </c:pt>
                <c:pt idx="1900">
                  <c:v>44.31</c:v>
                </c:pt>
                <c:pt idx="1901">
                  <c:v>27.89</c:v>
                </c:pt>
                <c:pt idx="1902">
                  <c:v>10.83</c:v>
                </c:pt>
                <c:pt idx="1903">
                  <c:v>36.590000000000003</c:v>
                </c:pt>
                <c:pt idx="1904">
                  <c:v>43.706200000000003</c:v>
                </c:pt>
                <c:pt idx="1905">
                  <c:v>50.36</c:v>
                </c:pt>
                <c:pt idx="1906">
                  <c:v>55.57</c:v>
                </c:pt>
                <c:pt idx="1907">
                  <c:v>38.94</c:v>
                </c:pt>
                <c:pt idx="1908">
                  <c:v>21.17</c:v>
                </c:pt>
                <c:pt idx="1909">
                  <c:v>12.7</c:v>
                </c:pt>
                <c:pt idx="1910">
                  <c:v>34.340000000000003</c:v>
                </c:pt>
                <c:pt idx="1911">
                  <c:v>38.61</c:v>
                </c:pt>
                <c:pt idx="1912">
                  <c:v>47.03</c:v>
                </c:pt>
                <c:pt idx="1913">
                  <c:v>49.27</c:v>
                </c:pt>
                <c:pt idx="1914">
                  <c:v>38.74</c:v>
                </c:pt>
                <c:pt idx="1915">
                  <c:v>38.96</c:v>
                </c:pt>
                <c:pt idx="1916">
                  <c:v>32.24</c:v>
                </c:pt>
                <c:pt idx="1917">
                  <c:v>24.89</c:v>
                </c:pt>
                <c:pt idx="1918">
                  <c:v>49.05</c:v>
                </c:pt>
                <c:pt idx="1919">
                  <c:v>40.07</c:v>
                </c:pt>
                <c:pt idx="1920">
                  <c:v>48.11</c:v>
                </c:pt>
                <c:pt idx="1921">
                  <c:v>53.45</c:v>
                </c:pt>
                <c:pt idx="1922">
                  <c:v>41.56</c:v>
                </c:pt>
                <c:pt idx="1923">
                  <c:v>40.340000000000003</c:v>
                </c:pt>
                <c:pt idx="1924">
                  <c:v>58.41</c:v>
                </c:pt>
                <c:pt idx="1925">
                  <c:v>55.97</c:v>
                </c:pt>
                <c:pt idx="1926">
                  <c:v>57.27</c:v>
                </c:pt>
                <c:pt idx="1927">
                  <c:v>55.39</c:v>
                </c:pt>
                <c:pt idx="1928">
                  <c:v>43.58</c:v>
                </c:pt>
                <c:pt idx="1929">
                  <c:v>28.38</c:v>
                </c:pt>
                <c:pt idx="1930">
                  <c:v>16.11</c:v>
                </c:pt>
                <c:pt idx="1931">
                  <c:v>39.85</c:v>
                </c:pt>
                <c:pt idx="1932">
                  <c:v>43.94</c:v>
                </c:pt>
                <c:pt idx="1933">
                  <c:v>38.26</c:v>
                </c:pt>
                <c:pt idx="1934">
                  <c:v>27.35</c:v>
                </c:pt>
                <c:pt idx="1935">
                  <c:v>31.23</c:v>
                </c:pt>
                <c:pt idx="1936">
                  <c:v>28.18</c:v>
                </c:pt>
                <c:pt idx="1937">
                  <c:v>16.39</c:v>
                </c:pt>
                <c:pt idx="1938">
                  <c:v>40.71</c:v>
                </c:pt>
                <c:pt idx="1939">
                  <c:v>32.5762</c:v>
                </c:pt>
                <c:pt idx="1940">
                  <c:v>37.69</c:v>
                </c:pt>
                <c:pt idx="1941">
                  <c:v>32.659999999999997</c:v>
                </c:pt>
                <c:pt idx="1942">
                  <c:v>34.130000000000003</c:v>
                </c:pt>
                <c:pt idx="1943">
                  <c:v>26.22</c:v>
                </c:pt>
                <c:pt idx="1944">
                  <c:v>23.37</c:v>
                </c:pt>
                <c:pt idx="1945">
                  <c:v>35.590000000000003</c:v>
                </c:pt>
                <c:pt idx="1946">
                  <c:v>36.799999999999997</c:v>
                </c:pt>
                <c:pt idx="1947">
                  <c:v>14.2</c:v>
                </c:pt>
                <c:pt idx="1948">
                  <c:v>32.979999999999997</c:v>
                </c:pt>
                <c:pt idx="1949">
                  <c:v>35.14</c:v>
                </c:pt>
                <c:pt idx="1950">
                  <c:v>30.49</c:v>
                </c:pt>
                <c:pt idx="1951">
                  <c:v>18.14</c:v>
                </c:pt>
                <c:pt idx="1952">
                  <c:v>39.880000000000003</c:v>
                </c:pt>
                <c:pt idx="1953">
                  <c:v>35.72</c:v>
                </c:pt>
                <c:pt idx="1954">
                  <c:v>33.119999999999997</c:v>
                </c:pt>
                <c:pt idx="1955">
                  <c:v>24.08</c:v>
                </c:pt>
                <c:pt idx="1956">
                  <c:v>31.58</c:v>
                </c:pt>
                <c:pt idx="1957">
                  <c:v>19.53</c:v>
                </c:pt>
                <c:pt idx="1958">
                  <c:v>11.49</c:v>
                </c:pt>
                <c:pt idx="1959">
                  <c:v>33.9</c:v>
                </c:pt>
                <c:pt idx="1960">
                  <c:v>34.979999999999997</c:v>
                </c:pt>
                <c:pt idx="1961">
                  <c:v>32.93</c:v>
                </c:pt>
                <c:pt idx="1962">
                  <c:v>35.729999999999997</c:v>
                </c:pt>
                <c:pt idx="1963">
                  <c:v>36.56</c:v>
                </c:pt>
                <c:pt idx="1964">
                  <c:v>23.61</c:v>
                </c:pt>
                <c:pt idx="1965">
                  <c:v>14.24</c:v>
                </c:pt>
                <c:pt idx="1966">
                  <c:v>27.97</c:v>
                </c:pt>
                <c:pt idx="1967">
                  <c:v>43.01</c:v>
                </c:pt>
                <c:pt idx="1968">
                  <c:v>34.245800000000003</c:v>
                </c:pt>
                <c:pt idx="1969">
                  <c:v>45.59</c:v>
                </c:pt>
                <c:pt idx="1970">
                  <c:v>47.04</c:v>
                </c:pt>
                <c:pt idx="1971">
                  <c:v>32.51</c:v>
                </c:pt>
                <c:pt idx="1972">
                  <c:v>21.08</c:v>
                </c:pt>
                <c:pt idx="1973">
                  <c:v>43.48</c:v>
                </c:pt>
                <c:pt idx="1974">
                  <c:v>42.2</c:v>
                </c:pt>
                <c:pt idx="1975">
                  <c:v>49.8</c:v>
                </c:pt>
                <c:pt idx="1976">
                  <c:v>36.53</c:v>
                </c:pt>
                <c:pt idx="1977">
                  <c:v>32.22</c:v>
                </c:pt>
                <c:pt idx="1978">
                  <c:v>29.44</c:v>
                </c:pt>
                <c:pt idx="1979">
                  <c:v>9.26</c:v>
                </c:pt>
                <c:pt idx="1980">
                  <c:v>31.07</c:v>
                </c:pt>
                <c:pt idx="1981">
                  <c:v>39</c:v>
                </c:pt>
                <c:pt idx="1982">
                  <c:v>37.69</c:v>
                </c:pt>
                <c:pt idx="1983">
                  <c:v>35.99</c:v>
                </c:pt>
                <c:pt idx="1984">
                  <c:v>33.81</c:v>
                </c:pt>
                <c:pt idx="1985">
                  <c:v>26.38</c:v>
                </c:pt>
                <c:pt idx="1986">
                  <c:v>14.42</c:v>
                </c:pt>
                <c:pt idx="1987">
                  <c:v>30.27</c:v>
                </c:pt>
                <c:pt idx="1988">
                  <c:v>31.82</c:v>
                </c:pt>
                <c:pt idx="1989">
                  <c:v>31.13</c:v>
                </c:pt>
                <c:pt idx="1990">
                  <c:v>29.08</c:v>
                </c:pt>
                <c:pt idx="1991">
                  <c:v>29.16</c:v>
                </c:pt>
                <c:pt idx="1992">
                  <c:v>15.44</c:v>
                </c:pt>
                <c:pt idx="1993">
                  <c:v>-3.33</c:v>
                </c:pt>
                <c:pt idx="1994">
                  <c:v>37.049999999999997</c:v>
                </c:pt>
                <c:pt idx="1995">
                  <c:v>33.42</c:v>
                </c:pt>
                <c:pt idx="1996">
                  <c:v>34.49</c:v>
                </c:pt>
                <c:pt idx="1997">
                  <c:v>37.64</c:v>
                </c:pt>
                <c:pt idx="1998">
                  <c:v>30.34</c:v>
                </c:pt>
                <c:pt idx="1999">
                  <c:v>15.92</c:v>
                </c:pt>
                <c:pt idx="2000">
                  <c:v>11.82</c:v>
                </c:pt>
                <c:pt idx="2001">
                  <c:v>33.520000000000003</c:v>
                </c:pt>
                <c:pt idx="2002">
                  <c:v>34.049999999999997</c:v>
                </c:pt>
                <c:pt idx="2003">
                  <c:v>29.7</c:v>
                </c:pt>
                <c:pt idx="2004">
                  <c:v>38</c:v>
                </c:pt>
                <c:pt idx="2005">
                  <c:v>33.590000000000003</c:v>
                </c:pt>
                <c:pt idx="2006">
                  <c:v>27.96</c:v>
                </c:pt>
                <c:pt idx="2007">
                  <c:v>16.54</c:v>
                </c:pt>
                <c:pt idx="2008">
                  <c:v>31.69</c:v>
                </c:pt>
                <c:pt idx="2009">
                  <c:v>37.590000000000003</c:v>
                </c:pt>
                <c:pt idx="2010">
                  <c:v>40.409999999999997</c:v>
                </c:pt>
                <c:pt idx="2011">
                  <c:v>41.2</c:v>
                </c:pt>
                <c:pt idx="2012">
                  <c:v>34.409999999999997</c:v>
                </c:pt>
                <c:pt idx="2013">
                  <c:v>26.24</c:v>
                </c:pt>
                <c:pt idx="2014">
                  <c:v>18.559999999999999</c:v>
                </c:pt>
                <c:pt idx="2015">
                  <c:v>33.04</c:v>
                </c:pt>
                <c:pt idx="2016">
                  <c:v>36.590000000000003</c:v>
                </c:pt>
                <c:pt idx="2017">
                  <c:v>33.06</c:v>
                </c:pt>
                <c:pt idx="2018">
                  <c:v>37.1</c:v>
                </c:pt>
                <c:pt idx="2019">
                  <c:v>35.14</c:v>
                </c:pt>
                <c:pt idx="2020">
                  <c:v>31.94</c:v>
                </c:pt>
                <c:pt idx="2021">
                  <c:v>20.3</c:v>
                </c:pt>
                <c:pt idx="2022">
                  <c:v>38.270000000000003</c:v>
                </c:pt>
                <c:pt idx="2023">
                  <c:v>41.72</c:v>
                </c:pt>
                <c:pt idx="2024">
                  <c:v>46.86</c:v>
                </c:pt>
                <c:pt idx="2025">
                  <c:v>44.19</c:v>
                </c:pt>
                <c:pt idx="2026">
                  <c:v>37.03</c:v>
                </c:pt>
                <c:pt idx="2027">
                  <c:v>31.62</c:v>
                </c:pt>
                <c:pt idx="2028">
                  <c:v>25.86</c:v>
                </c:pt>
                <c:pt idx="2029">
                  <c:v>42.46</c:v>
                </c:pt>
                <c:pt idx="2030">
                  <c:v>46.88</c:v>
                </c:pt>
                <c:pt idx="2031">
                  <c:v>51.02</c:v>
                </c:pt>
                <c:pt idx="2032">
                  <c:v>50.51</c:v>
                </c:pt>
                <c:pt idx="2033">
                  <c:v>43</c:v>
                </c:pt>
                <c:pt idx="2034">
                  <c:v>33.229999999999997</c:v>
                </c:pt>
                <c:pt idx="2035">
                  <c:v>22.51</c:v>
                </c:pt>
                <c:pt idx="2036">
                  <c:v>45.59</c:v>
                </c:pt>
                <c:pt idx="2037">
                  <c:v>37.200000000000003</c:v>
                </c:pt>
                <c:pt idx="2038">
                  <c:v>33.909999999999997</c:v>
                </c:pt>
                <c:pt idx="2039">
                  <c:v>39.86</c:v>
                </c:pt>
                <c:pt idx="2040">
                  <c:v>36.68</c:v>
                </c:pt>
                <c:pt idx="2041">
                  <c:v>30.91</c:v>
                </c:pt>
                <c:pt idx="2042">
                  <c:v>30.52</c:v>
                </c:pt>
                <c:pt idx="2043">
                  <c:v>43.75</c:v>
                </c:pt>
                <c:pt idx="2044">
                  <c:v>37</c:v>
                </c:pt>
                <c:pt idx="2045">
                  <c:v>39.4</c:v>
                </c:pt>
                <c:pt idx="2046">
                  <c:v>37.770000000000003</c:v>
                </c:pt>
                <c:pt idx="2047">
                  <c:v>39.94</c:v>
                </c:pt>
                <c:pt idx="2048">
                  <c:v>29.23</c:v>
                </c:pt>
                <c:pt idx="2049">
                  <c:v>18.399999999999999</c:v>
                </c:pt>
                <c:pt idx="2050">
                  <c:v>36.700000000000003</c:v>
                </c:pt>
                <c:pt idx="2051">
                  <c:v>36.75</c:v>
                </c:pt>
                <c:pt idx="2052">
                  <c:v>32.869999999999997</c:v>
                </c:pt>
                <c:pt idx="2053">
                  <c:v>32.770000000000003</c:v>
                </c:pt>
                <c:pt idx="2054">
                  <c:v>36.58</c:v>
                </c:pt>
                <c:pt idx="2055">
                  <c:v>32.049999999999997</c:v>
                </c:pt>
                <c:pt idx="2056">
                  <c:v>23.24</c:v>
                </c:pt>
                <c:pt idx="2057">
                  <c:v>56.14</c:v>
                </c:pt>
                <c:pt idx="2058">
                  <c:v>43.27</c:v>
                </c:pt>
                <c:pt idx="2059">
                  <c:v>44.31</c:v>
                </c:pt>
                <c:pt idx="2060">
                  <c:v>47.15</c:v>
                </c:pt>
                <c:pt idx="2061">
                  <c:v>45.94</c:v>
                </c:pt>
                <c:pt idx="2062">
                  <c:v>30.3</c:v>
                </c:pt>
                <c:pt idx="2063">
                  <c:v>26.02</c:v>
                </c:pt>
                <c:pt idx="2064">
                  <c:v>44.06</c:v>
                </c:pt>
                <c:pt idx="2065">
                  <c:v>50.02</c:v>
                </c:pt>
                <c:pt idx="2066">
                  <c:v>52.7</c:v>
                </c:pt>
                <c:pt idx="2067">
                  <c:v>53.09</c:v>
                </c:pt>
                <c:pt idx="2068">
                  <c:v>45.2</c:v>
                </c:pt>
                <c:pt idx="2069">
                  <c:v>32.65</c:v>
                </c:pt>
                <c:pt idx="2070">
                  <c:v>27.36</c:v>
                </c:pt>
                <c:pt idx="2071">
                  <c:v>32.86</c:v>
                </c:pt>
                <c:pt idx="2072">
                  <c:v>49.12</c:v>
                </c:pt>
                <c:pt idx="2073">
                  <c:v>53.07</c:v>
                </c:pt>
                <c:pt idx="2074">
                  <c:v>46.05</c:v>
                </c:pt>
                <c:pt idx="2075">
                  <c:v>39.43</c:v>
                </c:pt>
                <c:pt idx="2076">
                  <c:v>37.31</c:v>
                </c:pt>
                <c:pt idx="2077">
                  <c:v>30.24</c:v>
                </c:pt>
                <c:pt idx="2078">
                  <c:v>47</c:v>
                </c:pt>
                <c:pt idx="2079">
                  <c:v>47.89</c:v>
                </c:pt>
                <c:pt idx="2080">
                  <c:v>48.23</c:v>
                </c:pt>
                <c:pt idx="2081">
                  <c:v>50.29</c:v>
                </c:pt>
                <c:pt idx="2082">
                  <c:v>48.65</c:v>
                </c:pt>
                <c:pt idx="2083">
                  <c:v>35.43</c:v>
                </c:pt>
                <c:pt idx="2084">
                  <c:v>27.36</c:v>
                </c:pt>
                <c:pt idx="2085">
                  <c:v>41.22</c:v>
                </c:pt>
                <c:pt idx="2086">
                  <c:v>36.46</c:v>
                </c:pt>
                <c:pt idx="2087">
                  <c:v>46.96</c:v>
                </c:pt>
                <c:pt idx="2088">
                  <c:v>47.5</c:v>
                </c:pt>
                <c:pt idx="2089">
                  <c:v>50.24</c:v>
                </c:pt>
                <c:pt idx="2090">
                  <c:v>36.200000000000003</c:v>
                </c:pt>
                <c:pt idx="2091">
                  <c:v>26.28</c:v>
                </c:pt>
                <c:pt idx="2092">
                  <c:v>39.700000000000003</c:v>
                </c:pt>
                <c:pt idx="2093">
                  <c:v>51.57</c:v>
                </c:pt>
                <c:pt idx="2094">
                  <c:v>54.96</c:v>
                </c:pt>
                <c:pt idx="2095">
                  <c:v>54.33</c:v>
                </c:pt>
                <c:pt idx="2096">
                  <c:v>52.53</c:v>
                </c:pt>
                <c:pt idx="2097">
                  <c:v>37.18</c:v>
                </c:pt>
                <c:pt idx="2098">
                  <c:v>19.18</c:v>
                </c:pt>
                <c:pt idx="2099">
                  <c:v>36.79</c:v>
                </c:pt>
                <c:pt idx="2100">
                  <c:v>48.4</c:v>
                </c:pt>
                <c:pt idx="2101">
                  <c:v>37.18</c:v>
                </c:pt>
                <c:pt idx="2102">
                  <c:v>28.55</c:v>
                </c:pt>
                <c:pt idx="2103">
                  <c:v>38.42</c:v>
                </c:pt>
                <c:pt idx="2104">
                  <c:v>35.76</c:v>
                </c:pt>
                <c:pt idx="2105">
                  <c:v>33.49</c:v>
                </c:pt>
                <c:pt idx="2106">
                  <c:v>55</c:v>
                </c:pt>
                <c:pt idx="2107">
                  <c:v>52.15</c:v>
                </c:pt>
                <c:pt idx="2108">
                  <c:v>52.82</c:v>
                </c:pt>
                <c:pt idx="2109">
                  <c:v>53.82</c:v>
                </c:pt>
                <c:pt idx="2110">
                  <c:v>40.840000000000003</c:v>
                </c:pt>
                <c:pt idx="2111">
                  <c:v>35.36</c:v>
                </c:pt>
                <c:pt idx="2112">
                  <c:v>31.14</c:v>
                </c:pt>
                <c:pt idx="2113">
                  <c:v>43.68</c:v>
                </c:pt>
                <c:pt idx="2114">
                  <c:v>49.3</c:v>
                </c:pt>
                <c:pt idx="2115">
                  <c:v>50.29</c:v>
                </c:pt>
                <c:pt idx="2116">
                  <c:v>31.57</c:v>
                </c:pt>
                <c:pt idx="2117">
                  <c:v>37.130000000000003</c:v>
                </c:pt>
                <c:pt idx="2118">
                  <c:v>28.58</c:v>
                </c:pt>
                <c:pt idx="2119">
                  <c:v>24.41</c:v>
                </c:pt>
                <c:pt idx="2120">
                  <c:v>44.5</c:v>
                </c:pt>
                <c:pt idx="2121">
                  <c:v>37.79</c:v>
                </c:pt>
                <c:pt idx="2122">
                  <c:v>32.799999999999997</c:v>
                </c:pt>
                <c:pt idx="2123">
                  <c:v>40.299999999999997</c:v>
                </c:pt>
                <c:pt idx="2124">
                  <c:v>39.32</c:v>
                </c:pt>
                <c:pt idx="2125">
                  <c:v>28.99</c:v>
                </c:pt>
                <c:pt idx="2126">
                  <c:v>11.89</c:v>
                </c:pt>
                <c:pt idx="2127">
                  <c:v>19.899999999999999</c:v>
                </c:pt>
                <c:pt idx="2128">
                  <c:v>30.5</c:v>
                </c:pt>
                <c:pt idx="2129">
                  <c:v>38.76</c:v>
                </c:pt>
                <c:pt idx="2130">
                  <c:v>36.549999999999997</c:v>
                </c:pt>
                <c:pt idx="2131">
                  <c:v>32.619999999999997</c:v>
                </c:pt>
                <c:pt idx="2132">
                  <c:v>28.86</c:v>
                </c:pt>
                <c:pt idx="2133">
                  <c:v>11.32</c:v>
                </c:pt>
                <c:pt idx="2134">
                  <c:v>28.35</c:v>
                </c:pt>
                <c:pt idx="2135">
                  <c:v>35.950000000000003</c:v>
                </c:pt>
                <c:pt idx="2136">
                  <c:v>32.03</c:v>
                </c:pt>
                <c:pt idx="2137">
                  <c:v>35.28</c:v>
                </c:pt>
                <c:pt idx="2138">
                  <c:v>46.01</c:v>
                </c:pt>
                <c:pt idx="2139">
                  <c:v>23.96</c:v>
                </c:pt>
                <c:pt idx="2140">
                  <c:v>22.6</c:v>
                </c:pt>
                <c:pt idx="2141">
                  <c:v>40.659999999999997</c:v>
                </c:pt>
                <c:pt idx="2142">
                  <c:v>47.15</c:v>
                </c:pt>
                <c:pt idx="2143">
                  <c:v>47.48</c:v>
                </c:pt>
                <c:pt idx="2144">
                  <c:v>48.86</c:v>
                </c:pt>
                <c:pt idx="2145">
                  <c:v>47.33</c:v>
                </c:pt>
                <c:pt idx="2146">
                  <c:v>35.03</c:v>
                </c:pt>
                <c:pt idx="2147">
                  <c:v>36.270000000000003</c:v>
                </c:pt>
                <c:pt idx="2148">
                  <c:v>44.88</c:v>
                </c:pt>
                <c:pt idx="2149">
                  <c:v>52.44</c:v>
                </c:pt>
                <c:pt idx="2150">
                  <c:v>49.53</c:v>
                </c:pt>
                <c:pt idx="2151">
                  <c:v>53.91</c:v>
                </c:pt>
                <c:pt idx="2152">
                  <c:v>48.94</c:v>
                </c:pt>
                <c:pt idx="2153">
                  <c:v>42.96</c:v>
                </c:pt>
                <c:pt idx="2154">
                  <c:v>30.03</c:v>
                </c:pt>
                <c:pt idx="2155">
                  <c:v>45.6</c:v>
                </c:pt>
                <c:pt idx="2156">
                  <c:v>54.39</c:v>
                </c:pt>
                <c:pt idx="2157">
                  <c:v>44.28</c:v>
                </c:pt>
                <c:pt idx="2158">
                  <c:v>39.11</c:v>
                </c:pt>
                <c:pt idx="2159">
                  <c:v>37.39</c:v>
                </c:pt>
                <c:pt idx="2160">
                  <c:v>33.25</c:v>
                </c:pt>
                <c:pt idx="2161">
                  <c:v>28.04</c:v>
                </c:pt>
                <c:pt idx="2162">
                  <c:v>57.47</c:v>
                </c:pt>
                <c:pt idx="2163">
                  <c:v>55.13</c:v>
                </c:pt>
                <c:pt idx="2164">
                  <c:v>47.88</c:v>
                </c:pt>
                <c:pt idx="2165">
                  <c:v>34.32</c:v>
                </c:pt>
                <c:pt idx="2166">
                  <c:v>30.79</c:v>
                </c:pt>
                <c:pt idx="2167">
                  <c:v>32.479999999999997</c:v>
                </c:pt>
                <c:pt idx="2168">
                  <c:v>32.29</c:v>
                </c:pt>
                <c:pt idx="2169">
                  <c:v>38.71</c:v>
                </c:pt>
                <c:pt idx="2170">
                  <c:v>62.02</c:v>
                </c:pt>
                <c:pt idx="2171">
                  <c:v>62.89</c:v>
                </c:pt>
                <c:pt idx="2172">
                  <c:v>61.91</c:v>
                </c:pt>
                <c:pt idx="2173">
                  <c:v>62.65</c:v>
                </c:pt>
                <c:pt idx="2174">
                  <c:v>36.78</c:v>
                </c:pt>
                <c:pt idx="2175">
                  <c:v>23.64</c:v>
                </c:pt>
                <c:pt idx="2176">
                  <c:v>36.68</c:v>
                </c:pt>
                <c:pt idx="2177">
                  <c:v>53.21</c:v>
                </c:pt>
                <c:pt idx="2178">
                  <c:v>46.2</c:v>
                </c:pt>
                <c:pt idx="2179">
                  <c:v>34.47</c:v>
                </c:pt>
                <c:pt idx="2180">
                  <c:v>37.46</c:v>
                </c:pt>
                <c:pt idx="2181">
                  <c:v>24.41</c:v>
                </c:pt>
                <c:pt idx="2182">
                  <c:v>3.64</c:v>
                </c:pt>
                <c:pt idx="2183">
                  <c:v>24.29</c:v>
                </c:pt>
                <c:pt idx="2184">
                  <c:v>-6.28</c:v>
                </c:pt>
                <c:pt idx="2185">
                  <c:v>23.7</c:v>
                </c:pt>
                <c:pt idx="2186">
                  <c:v>33.700000000000003</c:v>
                </c:pt>
                <c:pt idx="2187">
                  <c:v>23.09</c:v>
                </c:pt>
                <c:pt idx="2188">
                  <c:v>22.65</c:v>
                </c:pt>
                <c:pt idx="2189">
                  <c:v>27.77</c:v>
                </c:pt>
                <c:pt idx="2190">
                  <c:v>30.27</c:v>
                </c:pt>
                <c:pt idx="2191">
                  <c:v>25.98</c:v>
                </c:pt>
                <c:pt idx="2192">
                  <c:v>17.38</c:v>
                </c:pt>
                <c:pt idx="2193">
                  <c:v>27.93</c:v>
                </c:pt>
                <c:pt idx="2194">
                  <c:v>27.71</c:v>
                </c:pt>
                <c:pt idx="2195">
                  <c:v>25.37</c:v>
                </c:pt>
                <c:pt idx="2196">
                  <c:v>24.55</c:v>
                </c:pt>
                <c:pt idx="2197">
                  <c:v>22.17</c:v>
                </c:pt>
                <c:pt idx="2198">
                  <c:v>27.52</c:v>
                </c:pt>
                <c:pt idx="2199">
                  <c:v>33.49</c:v>
                </c:pt>
                <c:pt idx="2200">
                  <c:v>31.13</c:v>
                </c:pt>
                <c:pt idx="2201">
                  <c:v>28.31</c:v>
                </c:pt>
                <c:pt idx="2202">
                  <c:v>29.66</c:v>
                </c:pt>
                <c:pt idx="2203">
                  <c:v>19.59</c:v>
                </c:pt>
                <c:pt idx="2204">
                  <c:v>41.94</c:v>
                </c:pt>
                <c:pt idx="2205">
                  <c:v>49.35</c:v>
                </c:pt>
                <c:pt idx="2206">
                  <c:v>45.69</c:v>
                </c:pt>
                <c:pt idx="2207">
                  <c:v>40.75</c:v>
                </c:pt>
                <c:pt idx="2208">
                  <c:v>39.58</c:v>
                </c:pt>
                <c:pt idx="2209">
                  <c:v>31.87</c:v>
                </c:pt>
                <c:pt idx="2210">
                  <c:v>24.69</c:v>
                </c:pt>
                <c:pt idx="2211">
                  <c:v>48.52</c:v>
                </c:pt>
                <c:pt idx="2212">
                  <c:v>49.51</c:v>
                </c:pt>
                <c:pt idx="2213">
                  <c:v>52.68</c:v>
                </c:pt>
                <c:pt idx="2214">
                  <c:v>48.01</c:v>
                </c:pt>
                <c:pt idx="2215">
                  <c:v>50.21</c:v>
                </c:pt>
                <c:pt idx="2216">
                  <c:v>35.32</c:v>
                </c:pt>
                <c:pt idx="2217">
                  <c:v>27.78</c:v>
                </c:pt>
                <c:pt idx="2218">
                  <c:v>38.94</c:v>
                </c:pt>
                <c:pt idx="2219">
                  <c:v>43.2</c:v>
                </c:pt>
                <c:pt idx="2220">
                  <c:v>39.659999999999997</c:v>
                </c:pt>
                <c:pt idx="2221">
                  <c:v>43.75</c:v>
                </c:pt>
                <c:pt idx="2222">
                  <c:v>45.85</c:v>
                </c:pt>
                <c:pt idx="2223">
                  <c:v>30.36</c:v>
                </c:pt>
                <c:pt idx="2224">
                  <c:v>27.63</c:v>
                </c:pt>
                <c:pt idx="2225">
                  <c:v>46.77</c:v>
                </c:pt>
                <c:pt idx="2226">
                  <c:v>43.85</c:v>
                </c:pt>
                <c:pt idx="2227">
                  <c:v>35.979999999999997</c:v>
                </c:pt>
                <c:pt idx="2228">
                  <c:v>35.880000000000003</c:v>
                </c:pt>
                <c:pt idx="2229">
                  <c:v>28.85</c:v>
                </c:pt>
                <c:pt idx="2230">
                  <c:v>27.68</c:v>
                </c:pt>
                <c:pt idx="2231">
                  <c:v>18.649999999999999</c:v>
                </c:pt>
                <c:pt idx="2232">
                  <c:v>40.729999999999997</c:v>
                </c:pt>
                <c:pt idx="2233">
                  <c:v>38.5</c:v>
                </c:pt>
                <c:pt idx="2234">
                  <c:v>34.32</c:v>
                </c:pt>
                <c:pt idx="2235">
                  <c:v>32.950000000000003</c:v>
                </c:pt>
                <c:pt idx="2236">
                  <c:v>34.5</c:v>
                </c:pt>
                <c:pt idx="2237">
                  <c:v>17.27</c:v>
                </c:pt>
                <c:pt idx="2238">
                  <c:v>14.72</c:v>
                </c:pt>
                <c:pt idx="2239">
                  <c:v>38.86</c:v>
                </c:pt>
                <c:pt idx="2240">
                  <c:v>40.75</c:v>
                </c:pt>
                <c:pt idx="2241">
                  <c:v>43.94</c:v>
                </c:pt>
                <c:pt idx="2242">
                  <c:v>34.93</c:v>
                </c:pt>
                <c:pt idx="2243">
                  <c:v>34.56</c:v>
                </c:pt>
                <c:pt idx="2244">
                  <c:v>28.36</c:v>
                </c:pt>
                <c:pt idx="2245">
                  <c:v>20.9</c:v>
                </c:pt>
                <c:pt idx="2246">
                  <c:v>30.54</c:v>
                </c:pt>
                <c:pt idx="2247">
                  <c:v>34.56</c:v>
                </c:pt>
                <c:pt idx="2248">
                  <c:v>41.34</c:v>
                </c:pt>
                <c:pt idx="2249">
                  <c:v>41.72</c:v>
                </c:pt>
                <c:pt idx="2250">
                  <c:v>41.35</c:v>
                </c:pt>
                <c:pt idx="2251">
                  <c:v>33.58</c:v>
                </c:pt>
                <c:pt idx="2252">
                  <c:v>29.11</c:v>
                </c:pt>
                <c:pt idx="2253">
                  <c:v>38</c:v>
                </c:pt>
                <c:pt idx="2254">
                  <c:v>46.83</c:v>
                </c:pt>
                <c:pt idx="2255">
                  <c:v>42.69</c:v>
                </c:pt>
                <c:pt idx="2256">
                  <c:v>39.92</c:v>
                </c:pt>
                <c:pt idx="2257">
                  <c:v>33.43</c:v>
                </c:pt>
                <c:pt idx="2258">
                  <c:v>27.82</c:v>
                </c:pt>
                <c:pt idx="2259">
                  <c:v>18.32</c:v>
                </c:pt>
                <c:pt idx="2260">
                  <c:v>34.51</c:v>
                </c:pt>
                <c:pt idx="2261">
                  <c:v>33.25</c:v>
                </c:pt>
                <c:pt idx="2262">
                  <c:v>35.85</c:v>
                </c:pt>
                <c:pt idx="2263">
                  <c:v>38.5</c:v>
                </c:pt>
                <c:pt idx="2264">
                  <c:v>34.947899999999997</c:v>
                </c:pt>
                <c:pt idx="2265">
                  <c:v>14.05</c:v>
                </c:pt>
                <c:pt idx="2266">
                  <c:v>-4.13</c:v>
                </c:pt>
                <c:pt idx="2267">
                  <c:v>26.72</c:v>
                </c:pt>
                <c:pt idx="2268">
                  <c:v>32.409999999999997</c:v>
                </c:pt>
                <c:pt idx="2269">
                  <c:v>25.01</c:v>
                </c:pt>
                <c:pt idx="2270">
                  <c:v>26.41</c:v>
                </c:pt>
                <c:pt idx="2271">
                  <c:v>27.66</c:v>
                </c:pt>
                <c:pt idx="2272">
                  <c:v>29.57</c:v>
                </c:pt>
                <c:pt idx="2273">
                  <c:v>26.5</c:v>
                </c:pt>
                <c:pt idx="2274">
                  <c:v>37.340000000000003</c:v>
                </c:pt>
                <c:pt idx="2275">
                  <c:v>38.590000000000003</c:v>
                </c:pt>
                <c:pt idx="2276">
                  <c:v>35.85</c:v>
                </c:pt>
                <c:pt idx="2277">
                  <c:v>33.159999999999997</c:v>
                </c:pt>
                <c:pt idx="2278">
                  <c:v>35.42</c:v>
                </c:pt>
                <c:pt idx="2279">
                  <c:v>29.32</c:v>
                </c:pt>
                <c:pt idx="2280">
                  <c:v>25.14</c:v>
                </c:pt>
                <c:pt idx="2281">
                  <c:v>36.56</c:v>
                </c:pt>
                <c:pt idx="2282">
                  <c:v>40</c:v>
                </c:pt>
                <c:pt idx="2283">
                  <c:v>38.65</c:v>
                </c:pt>
                <c:pt idx="2284">
                  <c:v>35.01</c:v>
                </c:pt>
                <c:pt idx="2285">
                  <c:v>32.94</c:v>
                </c:pt>
                <c:pt idx="2286">
                  <c:v>30.97</c:v>
                </c:pt>
                <c:pt idx="2287">
                  <c:v>25.44</c:v>
                </c:pt>
                <c:pt idx="2288">
                  <c:v>37.19</c:v>
                </c:pt>
                <c:pt idx="2289">
                  <c:v>27.36</c:v>
                </c:pt>
                <c:pt idx="2290">
                  <c:v>28.38</c:v>
                </c:pt>
                <c:pt idx="2291">
                  <c:v>40.15</c:v>
                </c:pt>
                <c:pt idx="2292">
                  <c:v>40.020000000000003</c:v>
                </c:pt>
                <c:pt idx="2293">
                  <c:v>27.75</c:v>
                </c:pt>
                <c:pt idx="2294">
                  <c:v>13.25</c:v>
                </c:pt>
                <c:pt idx="2295">
                  <c:v>23.9</c:v>
                </c:pt>
                <c:pt idx="2296">
                  <c:v>28.25</c:v>
                </c:pt>
                <c:pt idx="2297">
                  <c:v>34.97</c:v>
                </c:pt>
                <c:pt idx="2298">
                  <c:v>33.18</c:v>
                </c:pt>
                <c:pt idx="2299">
                  <c:v>28.51</c:v>
                </c:pt>
                <c:pt idx="2300">
                  <c:v>26.39</c:v>
                </c:pt>
                <c:pt idx="2301">
                  <c:v>15.16</c:v>
                </c:pt>
                <c:pt idx="2302">
                  <c:v>21.68</c:v>
                </c:pt>
                <c:pt idx="2303">
                  <c:v>36.69</c:v>
                </c:pt>
                <c:pt idx="2304">
                  <c:v>36.869999999999997</c:v>
                </c:pt>
                <c:pt idx="2305">
                  <c:v>37.01</c:v>
                </c:pt>
                <c:pt idx="2306">
                  <c:v>33</c:v>
                </c:pt>
                <c:pt idx="2307">
                  <c:v>32.11</c:v>
                </c:pt>
                <c:pt idx="2308">
                  <c:v>25.3</c:v>
                </c:pt>
                <c:pt idx="2309">
                  <c:v>41.02</c:v>
                </c:pt>
                <c:pt idx="2310">
                  <c:v>40.19</c:v>
                </c:pt>
                <c:pt idx="2311">
                  <c:v>36.15</c:v>
                </c:pt>
                <c:pt idx="2312">
                  <c:v>22.88</c:v>
                </c:pt>
                <c:pt idx="2313">
                  <c:v>29.26</c:v>
                </c:pt>
                <c:pt idx="2314">
                  <c:v>28.25</c:v>
                </c:pt>
                <c:pt idx="2315">
                  <c:v>17.850000000000001</c:v>
                </c:pt>
                <c:pt idx="2316">
                  <c:v>36.200000000000003</c:v>
                </c:pt>
                <c:pt idx="2317">
                  <c:v>32.35</c:v>
                </c:pt>
                <c:pt idx="2318">
                  <c:v>34.340000000000003</c:v>
                </c:pt>
                <c:pt idx="2319">
                  <c:v>31.34</c:v>
                </c:pt>
                <c:pt idx="2320">
                  <c:v>28.48</c:v>
                </c:pt>
                <c:pt idx="2321">
                  <c:v>21.98</c:v>
                </c:pt>
                <c:pt idx="2322">
                  <c:v>-2.16</c:v>
                </c:pt>
                <c:pt idx="2323">
                  <c:v>28.97</c:v>
                </c:pt>
                <c:pt idx="2324">
                  <c:v>39.89</c:v>
                </c:pt>
                <c:pt idx="2325">
                  <c:v>32.369999999999997</c:v>
                </c:pt>
                <c:pt idx="2326">
                  <c:v>37.68</c:v>
                </c:pt>
                <c:pt idx="2327">
                  <c:v>32.36</c:v>
                </c:pt>
                <c:pt idx="2328">
                  <c:v>29.05</c:v>
                </c:pt>
                <c:pt idx="2329">
                  <c:v>24.77</c:v>
                </c:pt>
                <c:pt idx="2330">
                  <c:v>40.28</c:v>
                </c:pt>
                <c:pt idx="2331">
                  <c:v>40.200000000000003</c:v>
                </c:pt>
                <c:pt idx="2332">
                  <c:v>38.56</c:v>
                </c:pt>
                <c:pt idx="2333">
                  <c:v>33.450000000000003</c:v>
                </c:pt>
                <c:pt idx="2334">
                  <c:v>39.85</c:v>
                </c:pt>
                <c:pt idx="2335">
                  <c:v>29.35</c:v>
                </c:pt>
                <c:pt idx="2336">
                  <c:v>22.48</c:v>
                </c:pt>
                <c:pt idx="2337">
                  <c:v>36.200000000000003</c:v>
                </c:pt>
                <c:pt idx="2338">
                  <c:v>37.450000000000003</c:v>
                </c:pt>
                <c:pt idx="2339">
                  <c:v>36.96</c:v>
                </c:pt>
                <c:pt idx="2340">
                  <c:v>29.1</c:v>
                </c:pt>
                <c:pt idx="2341">
                  <c:v>36.590000000000003</c:v>
                </c:pt>
                <c:pt idx="2342">
                  <c:v>23.09</c:v>
                </c:pt>
                <c:pt idx="2343">
                  <c:v>20.399999999999999</c:v>
                </c:pt>
                <c:pt idx="2344">
                  <c:v>37.03</c:v>
                </c:pt>
                <c:pt idx="2345">
                  <c:v>42.5</c:v>
                </c:pt>
                <c:pt idx="2346">
                  <c:v>38.799999999999997</c:v>
                </c:pt>
                <c:pt idx="2347">
                  <c:v>32.299999999999997</c:v>
                </c:pt>
                <c:pt idx="2348">
                  <c:v>31.19</c:v>
                </c:pt>
                <c:pt idx="2349">
                  <c:v>26.91</c:v>
                </c:pt>
                <c:pt idx="2350">
                  <c:v>21.76</c:v>
                </c:pt>
                <c:pt idx="2351">
                  <c:v>25.98</c:v>
                </c:pt>
                <c:pt idx="2352">
                  <c:v>33.42</c:v>
                </c:pt>
                <c:pt idx="2353">
                  <c:v>39.049999999999997</c:v>
                </c:pt>
                <c:pt idx="2354">
                  <c:v>37.880000000000003</c:v>
                </c:pt>
                <c:pt idx="2355">
                  <c:v>30.66</c:v>
                </c:pt>
                <c:pt idx="2356">
                  <c:v>24.22</c:v>
                </c:pt>
                <c:pt idx="2357">
                  <c:v>18.5</c:v>
                </c:pt>
                <c:pt idx="2358">
                  <c:v>32.39</c:v>
                </c:pt>
                <c:pt idx="2359">
                  <c:v>38.72</c:v>
                </c:pt>
                <c:pt idx="2360">
                  <c:v>34.96</c:v>
                </c:pt>
                <c:pt idx="2361">
                  <c:v>25.56</c:v>
                </c:pt>
                <c:pt idx="2362">
                  <c:v>28.89</c:v>
                </c:pt>
                <c:pt idx="2363">
                  <c:v>23.28</c:v>
                </c:pt>
                <c:pt idx="2364">
                  <c:v>18.190000000000001</c:v>
                </c:pt>
                <c:pt idx="2365">
                  <c:v>34.53</c:v>
                </c:pt>
                <c:pt idx="2366">
                  <c:v>39.68</c:v>
                </c:pt>
                <c:pt idx="2367">
                  <c:v>37.89</c:v>
                </c:pt>
                <c:pt idx="2368">
                  <c:v>39.729999999999997</c:v>
                </c:pt>
                <c:pt idx="2369">
                  <c:v>37.15</c:v>
                </c:pt>
                <c:pt idx="2370">
                  <c:v>31.4</c:v>
                </c:pt>
                <c:pt idx="2371">
                  <c:v>28</c:v>
                </c:pt>
                <c:pt idx="2372">
                  <c:v>34.71</c:v>
                </c:pt>
                <c:pt idx="2373">
                  <c:v>34.299999999999997</c:v>
                </c:pt>
                <c:pt idx="2374">
                  <c:v>34.75</c:v>
                </c:pt>
                <c:pt idx="2375">
                  <c:v>33.159999999999997</c:v>
                </c:pt>
                <c:pt idx="2376">
                  <c:v>31.9</c:v>
                </c:pt>
                <c:pt idx="2377">
                  <c:v>28.11</c:v>
                </c:pt>
                <c:pt idx="2378">
                  <c:v>22.53</c:v>
                </c:pt>
                <c:pt idx="2379">
                  <c:v>33.74</c:v>
                </c:pt>
                <c:pt idx="2380">
                  <c:v>34.020000000000003</c:v>
                </c:pt>
                <c:pt idx="2381">
                  <c:v>32.18</c:v>
                </c:pt>
                <c:pt idx="2382">
                  <c:v>31.61</c:v>
                </c:pt>
                <c:pt idx="2383">
                  <c:v>31.46</c:v>
                </c:pt>
                <c:pt idx="2384">
                  <c:v>29.46</c:v>
                </c:pt>
                <c:pt idx="2385">
                  <c:v>24.48</c:v>
                </c:pt>
                <c:pt idx="2386">
                  <c:v>31.94</c:v>
                </c:pt>
                <c:pt idx="2387">
                  <c:v>33.35</c:v>
                </c:pt>
                <c:pt idx="2388">
                  <c:v>35.590000000000003</c:v>
                </c:pt>
                <c:pt idx="2389">
                  <c:v>36.270000000000003</c:v>
                </c:pt>
                <c:pt idx="2390">
                  <c:v>35.94</c:v>
                </c:pt>
                <c:pt idx="2391">
                  <c:v>28.84</c:v>
                </c:pt>
                <c:pt idx="2392">
                  <c:v>22</c:v>
                </c:pt>
                <c:pt idx="2393">
                  <c:v>33.909999999999997</c:v>
                </c:pt>
                <c:pt idx="2394">
                  <c:v>33.72</c:v>
                </c:pt>
                <c:pt idx="2395">
                  <c:v>32.35</c:v>
                </c:pt>
                <c:pt idx="2396">
                  <c:v>34.28</c:v>
                </c:pt>
                <c:pt idx="2397">
                  <c:v>34.35</c:v>
                </c:pt>
                <c:pt idx="2398">
                  <c:v>31.47</c:v>
                </c:pt>
                <c:pt idx="2399">
                  <c:v>27.23</c:v>
                </c:pt>
                <c:pt idx="2400">
                  <c:v>36</c:v>
                </c:pt>
                <c:pt idx="2401">
                  <c:v>34.42</c:v>
                </c:pt>
                <c:pt idx="2402">
                  <c:v>32.729999999999997</c:v>
                </c:pt>
                <c:pt idx="2403">
                  <c:v>32.159999999999997</c:v>
                </c:pt>
                <c:pt idx="2404">
                  <c:v>32.590000000000003</c:v>
                </c:pt>
                <c:pt idx="2405">
                  <c:v>20.83</c:v>
                </c:pt>
                <c:pt idx="2406">
                  <c:v>17.68</c:v>
                </c:pt>
                <c:pt idx="2407">
                  <c:v>33.35</c:v>
                </c:pt>
                <c:pt idx="2408">
                  <c:v>33.590000000000003</c:v>
                </c:pt>
                <c:pt idx="2409">
                  <c:v>31</c:v>
                </c:pt>
                <c:pt idx="2410">
                  <c:v>32.25</c:v>
                </c:pt>
                <c:pt idx="2411">
                  <c:v>31.85</c:v>
                </c:pt>
                <c:pt idx="2412">
                  <c:v>21.63</c:v>
                </c:pt>
                <c:pt idx="2413">
                  <c:v>13.41</c:v>
                </c:pt>
                <c:pt idx="2414">
                  <c:v>23.39</c:v>
                </c:pt>
                <c:pt idx="2415">
                  <c:v>30.95</c:v>
                </c:pt>
                <c:pt idx="2416">
                  <c:v>35.61</c:v>
                </c:pt>
                <c:pt idx="2417">
                  <c:v>30.31</c:v>
                </c:pt>
                <c:pt idx="2418">
                  <c:v>29.52</c:v>
                </c:pt>
                <c:pt idx="2419">
                  <c:v>20.2</c:v>
                </c:pt>
                <c:pt idx="2420">
                  <c:v>-2.4</c:v>
                </c:pt>
                <c:pt idx="2421">
                  <c:v>21.58</c:v>
                </c:pt>
                <c:pt idx="2422">
                  <c:v>29.98</c:v>
                </c:pt>
                <c:pt idx="2423">
                  <c:v>31.03</c:v>
                </c:pt>
                <c:pt idx="2424">
                  <c:v>33.200000000000003</c:v>
                </c:pt>
                <c:pt idx="2425">
                  <c:v>31.74</c:v>
                </c:pt>
                <c:pt idx="2426">
                  <c:v>28.47</c:v>
                </c:pt>
                <c:pt idx="2427">
                  <c:v>18.23</c:v>
                </c:pt>
                <c:pt idx="2428">
                  <c:v>35.979999999999997</c:v>
                </c:pt>
                <c:pt idx="2429">
                  <c:v>40.270000000000003</c:v>
                </c:pt>
                <c:pt idx="2430">
                  <c:v>37.51</c:v>
                </c:pt>
                <c:pt idx="2431">
                  <c:v>35.99</c:v>
                </c:pt>
                <c:pt idx="2432">
                  <c:v>34.950000000000003</c:v>
                </c:pt>
                <c:pt idx="2433">
                  <c:v>27.59</c:v>
                </c:pt>
                <c:pt idx="2434">
                  <c:v>23.54</c:v>
                </c:pt>
                <c:pt idx="2435">
                  <c:v>33.61</c:v>
                </c:pt>
                <c:pt idx="2436">
                  <c:v>34.97</c:v>
                </c:pt>
                <c:pt idx="2437">
                  <c:v>31.46</c:v>
                </c:pt>
                <c:pt idx="2438">
                  <c:v>31.1</c:v>
                </c:pt>
                <c:pt idx="2439">
                  <c:v>35.42</c:v>
                </c:pt>
                <c:pt idx="2440">
                  <c:v>31.28</c:v>
                </c:pt>
                <c:pt idx="2441">
                  <c:v>27.79</c:v>
                </c:pt>
                <c:pt idx="2442">
                  <c:v>36.08</c:v>
                </c:pt>
                <c:pt idx="2443">
                  <c:v>38.31</c:v>
                </c:pt>
                <c:pt idx="2444">
                  <c:v>37.61</c:v>
                </c:pt>
                <c:pt idx="2445">
                  <c:v>38.51</c:v>
                </c:pt>
                <c:pt idx="2446">
                  <c:v>37.47</c:v>
                </c:pt>
                <c:pt idx="2447">
                  <c:v>30.02</c:v>
                </c:pt>
                <c:pt idx="2448">
                  <c:v>25.86</c:v>
                </c:pt>
                <c:pt idx="2449">
                  <c:v>37</c:v>
                </c:pt>
                <c:pt idx="2450">
                  <c:v>38.020000000000003</c:v>
                </c:pt>
                <c:pt idx="2451">
                  <c:v>33.61</c:v>
                </c:pt>
                <c:pt idx="2452">
                  <c:v>36.340000000000003</c:v>
                </c:pt>
                <c:pt idx="2453">
                  <c:v>41.15</c:v>
                </c:pt>
                <c:pt idx="2454">
                  <c:v>37.22</c:v>
                </c:pt>
                <c:pt idx="2455">
                  <c:v>28.9</c:v>
                </c:pt>
                <c:pt idx="2456">
                  <c:v>29.09</c:v>
                </c:pt>
                <c:pt idx="2457">
                  <c:v>39.880000000000003</c:v>
                </c:pt>
                <c:pt idx="2458">
                  <c:v>37.35</c:v>
                </c:pt>
                <c:pt idx="2459">
                  <c:v>36.39</c:v>
                </c:pt>
                <c:pt idx="2460">
                  <c:v>34.58</c:v>
                </c:pt>
                <c:pt idx="2461">
                  <c:v>32.36</c:v>
                </c:pt>
                <c:pt idx="2462">
                  <c:v>26.29</c:v>
                </c:pt>
                <c:pt idx="2463">
                  <c:v>40.74</c:v>
                </c:pt>
                <c:pt idx="2464">
                  <c:v>45.22</c:v>
                </c:pt>
                <c:pt idx="2465">
                  <c:v>48.19</c:v>
                </c:pt>
                <c:pt idx="2466">
                  <c:v>46.43</c:v>
                </c:pt>
                <c:pt idx="2467">
                  <c:v>31.8</c:v>
                </c:pt>
                <c:pt idx="2468">
                  <c:v>29.35</c:v>
                </c:pt>
                <c:pt idx="2469">
                  <c:v>31</c:v>
                </c:pt>
                <c:pt idx="2470">
                  <c:v>34.82</c:v>
                </c:pt>
                <c:pt idx="2471">
                  <c:v>29.8</c:v>
                </c:pt>
                <c:pt idx="2472">
                  <c:v>35.79</c:v>
                </c:pt>
                <c:pt idx="2473">
                  <c:v>32.6</c:v>
                </c:pt>
                <c:pt idx="2474">
                  <c:v>39.44</c:v>
                </c:pt>
                <c:pt idx="2475">
                  <c:v>34.44</c:v>
                </c:pt>
                <c:pt idx="2476">
                  <c:v>30.55</c:v>
                </c:pt>
                <c:pt idx="2477">
                  <c:v>37.549999999999997</c:v>
                </c:pt>
                <c:pt idx="2478">
                  <c:v>41.69</c:v>
                </c:pt>
                <c:pt idx="2479">
                  <c:v>42.72</c:v>
                </c:pt>
                <c:pt idx="2480">
                  <c:v>41.9</c:v>
                </c:pt>
                <c:pt idx="2481">
                  <c:v>40.299999999999997</c:v>
                </c:pt>
                <c:pt idx="2482">
                  <c:v>30.34</c:v>
                </c:pt>
                <c:pt idx="2483">
                  <c:v>14.75</c:v>
                </c:pt>
                <c:pt idx="2484">
                  <c:v>28.76</c:v>
                </c:pt>
                <c:pt idx="2485">
                  <c:v>32.130000000000003</c:v>
                </c:pt>
                <c:pt idx="2486">
                  <c:v>26.23</c:v>
                </c:pt>
                <c:pt idx="2487">
                  <c:v>40.92</c:v>
                </c:pt>
                <c:pt idx="2488">
                  <c:v>36.340000000000003</c:v>
                </c:pt>
                <c:pt idx="2489">
                  <c:v>31.79</c:v>
                </c:pt>
                <c:pt idx="2490">
                  <c:v>26.24</c:v>
                </c:pt>
                <c:pt idx="2491">
                  <c:v>33.1</c:v>
                </c:pt>
                <c:pt idx="2492">
                  <c:v>36.07</c:v>
                </c:pt>
                <c:pt idx="2493">
                  <c:v>43.3</c:v>
                </c:pt>
                <c:pt idx="2494">
                  <c:v>47.03</c:v>
                </c:pt>
                <c:pt idx="2495">
                  <c:v>37.17</c:v>
                </c:pt>
                <c:pt idx="2496">
                  <c:v>25.23</c:v>
                </c:pt>
                <c:pt idx="2497">
                  <c:v>16.72</c:v>
                </c:pt>
                <c:pt idx="2498">
                  <c:v>24.72</c:v>
                </c:pt>
                <c:pt idx="2499">
                  <c:v>32.65</c:v>
                </c:pt>
                <c:pt idx="2500">
                  <c:v>45.23</c:v>
                </c:pt>
                <c:pt idx="2501">
                  <c:v>49.15</c:v>
                </c:pt>
                <c:pt idx="2502">
                  <c:v>35.340000000000003</c:v>
                </c:pt>
                <c:pt idx="2503">
                  <c:v>27.82</c:v>
                </c:pt>
                <c:pt idx="2504">
                  <c:v>23.64</c:v>
                </c:pt>
                <c:pt idx="2505">
                  <c:v>40.78</c:v>
                </c:pt>
                <c:pt idx="2506">
                  <c:v>36.31</c:v>
                </c:pt>
                <c:pt idx="2507">
                  <c:v>40.380000000000003</c:v>
                </c:pt>
                <c:pt idx="2508">
                  <c:v>43.21</c:v>
                </c:pt>
                <c:pt idx="2509">
                  <c:v>36.57</c:v>
                </c:pt>
                <c:pt idx="2510">
                  <c:v>31.39</c:v>
                </c:pt>
                <c:pt idx="2511">
                  <c:v>26.31</c:v>
                </c:pt>
                <c:pt idx="2512">
                  <c:v>43.59</c:v>
                </c:pt>
                <c:pt idx="2513">
                  <c:v>46.09</c:v>
                </c:pt>
                <c:pt idx="2514">
                  <c:v>47.58</c:v>
                </c:pt>
                <c:pt idx="2515">
                  <c:v>46.6</c:v>
                </c:pt>
                <c:pt idx="2516">
                  <c:v>44.81</c:v>
                </c:pt>
                <c:pt idx="2517">
                  <c:v>34.369999999999997</c:v>
                </c:pt>
                <c:pt idx="2518">
                  <c:v>25.17</c:v>
                </c:pt>
                <c:pt idx="2519">
                  <c:v>40.03</c:v>
                </c:pt>
                <c:pt idx="2520">
                  <c:v>47.9</c:v>
                </c:pt>
                <c:pt idx="2521">
                  <c:v>43.51</c:v>
                </c:pt>
                <c:pt idx="2522">
                  <c:v>42.7</c:v>
                </c:pt>
                <c:pt idx="2523">
                  <c:v>31.33</c:v>
                </c:pt>
                <c:pt idx="2524">
                  <c:v>31.54</c:v>
                </c:pt>
                <c:pt idx="2525">
                  <c:v>30.51</c:v>
                </c:pt>
                <c:pt idx="2526">
                  <c:v>39.33</c:v>
                </c:pt>
                <c:pt idx="2527">
                  <c:v>51.49</c:v>
                </c:pt>
                <c:pt idx="2528">
                  <c:v>54.69</c:v>
                </c:pt>
                <c:pt idx="2529">
                  <c:v>55.48</c:v>
                </c:pt>
                <c:pt idx="2530">
                  <c:v>53.82</c:v>
                </c:pt>
                <c:pt idx="2531">
                  <c:v>42.88</c:v>
                </c:pt>
                <c:pt idx="2532">
                  <c:v>31.11</c:v>
                </c:pt>
                <c:pt idx="2533">
                  <c:v>41.6</c:v>
                </c:pt>
                <c:pt idx="2534">
                  <c:v>49.53</c:v>
                </c:pt>
                <c:pt idx="2535">
                  <c:v>33.01</c:v>
                </c:pt>
                <c:pt idx="2536">
                  <c:v>29.77</c:v>
                </c:pt>
                <c:pt idx="2537">
                  <c:v>29.91</c:v>
                </c:pt>
                <c:pt idx="2538">
                  <c:v>32.97</c:v>
                </c:pt>
                <c:pt idx="2539">
                  <c:v>34.119999999999997</c:v>
                </c:pt>
                <c:pt idx="2540">
                  <c:v>39.590000000000003</c:v>
                </c:pt>
                <c:pt idx="2541">
                  <c:v>45.75</c:v>
                </c:pt>
                <c:pt idx="2542">
                  <c:v>38.89</c:v>
                </c:pt>
                <c:pt idx="2543">
                  <c:v>29.59</c:v>
                </c:pt>
                <c:pt idx="2544">
                  <c:v>23.1</c:v>
                </c:pt>
                <c:pt idx="2545">
                  <c:v>6.78</c:v>
                </c:pt>
                <c:pt idx="2546">
                  <c:v>10.5</c:v>
                </c:pt>
                <c:pt idx="2547">
                  <c:v>7.68</c:v>
                </c:pt>
                <c:pt idx="2548">
                  <c:v>16.3</c:v>
                </c:pt>
                <c:pt idx="2549">
                  <c:v>9.3800000000000008</c:v>
                </c:pt>
                <c:pt idx="2550">
                  <c:v>12.35</c:v>
                </c:pt>
                <c:pt idx="2551">
                  <c:v>33.200000000000003</c:v>
                </c:pt>
                <c:pt idx="2552">
                  <c:v>27.29</c:v>
                </c:pt>
                <c:pt idx="2553">
                  <c:v>30.37</c:v>
                </c:pt>
                <c:pt idx="2554">
                  <c:v>39.049999999999997</c:v>
                </c:pt>
                <c:pt idx="2555">
                  <c:v>37.78</c:v>
                </c:pt>
                <c:pt idx="2556">
                  <c:v>32.29</c:v>
                </c:pt>
                <c:pt idx="2557">
                  <c:v>16.309999999999999</c:v>
                </c:pt>
                <c:pt idx="2558">
                  <c:v>4.45</c:v>
                </c:pt>
                <c:pt idx="2559">
                  <c:v>18.260000000000002</c:v>
                </c:pt>
                <c:pt idx="2560">
                  <c:v>12.98</c:v>
                </c:pt>
                <c:pt idx="2561">
                  <c:v>35.86</c:v>
                </c:pt>
                <c:pt idx="2562">
                  <c:v>33.880000000000003</c:v>
                </c:pt>
                <c:pt idx="2563">
                  <c:v>38.72</c:v>
                </c:pt>
                <c:pt idx="2564">
                  <c:v>28.48</c:v>
                </c:pt>
                <c:pt idx="2565">
                  <c:v>24.25</c:v>
                </c:pt>
                <c:pt idx="2566">
                  <c:v>12.86</c:v>
                </c:pt>
                <c:pt idx="2567">
                  <c:v>1.1000000000000001</c:v>
                </c:pt>
                <c:pt idx="2568">
                  <c:v>22.56</c:v>
                </c:pt>
                <c:pt idx="2569">
                  <c:v>24.81</c:v>
                </c:pt>
                <c:pt idx="2570">
                  <c:v>27.21</c:v>
                </c:pt>
                <c:pt idx="2571">
                  <c:v>25.37</c:v>
                </c:pt>
                <c:pt idx="2572">
                  <c:v>33.08</c:v>
                </c:pt>
                <c:pt idx="2573">
                  <c:v>31.5</c:v>
                </c:pt>
                <c:pt idx="2574">
                  <c:v>26.99</c:v>
                </c:pt>
                <c:pt idx="2575">
                  <c:v>42.58</c:v>
                </c:pt>
                <c:pt idx="2576">
                  <c:v>47.04</c:v>
                </c:pt>
                <c:pt idx="2577">
                  <c:v>44.99</c:v>
                </c:pt>
                <c:pt idx="2578">
                  <c:v>43.82</c:v>
                </c:pt>
                <c:pt idx="2579">
                  <c:v>42.37</c:v>
                </c:pt>
                <c:pt idx="2580">
                  <c:v>29.78</c:v>
                </c:pt>
                <c:pt idx="2581">
                  <c:v>28.28</c:v>
                </c:pt>
                <c:pt idx="2582">
                  <c:v>37.5</c:v>
                </c:pt>
                <c:pt idx="2583">
                  <c:v>32.94</c:v>
                </c:pt>
                <c:pt idx="2584">
                  <c:v>28.18</c:v>
                </c:pt>
                <c:pt idx="2585">
                  <c:v>26.24</c:v>
                </c:pt>
                <c:pt idx="2586">
                  <c:v>38.24</c:v>
                </c:pt>
                <c:pt idx="2587">
                  <c:v>29.81</c:v>
                </c:pt>
                <c:pt idx="2588">
                  <c:v>29.23</c:v>
                </c:pt>
                <c:pt idx="2589">
                  <c:v>42.38</c:v>
                </c:pt>
                <c:pt idx="2590">
                  <c:v>45.53</c:v>
                </c:pt>
                <c:pt idx="2591">
                  <c:v>48.28</c:v>
                </c:pt>
                <c:pt idx="2592">
                  <c:v>44.04</c:v>
                </c:pt>
                <c:pt idx="2593">
                  <c:v>39.299999999999997</c:v>
                </c:pt>
                <c:pt idx="2594">
                  <c:v>26.91</c:v>
                </c:pt>
                <c:pt idx="2595">
                  <c:v>12.44</c:v>
                </c:pt>
                <c:pt idx="2596">
                  <c:v>27.56</c:v>
                </c:pt>
                <c:pt idx="2597">
                  <c:v>44.18</c:v>
                </c:pt>
                <c:pt idx="2598">
                  <c:v>48.32</c:v>
                </c:pt>
                <c:pt idx="2599">
                  <c:v>48.38</c:v>
                </c:pt>
                <c:pt idx="2600">
                  <c:v>38.700000000000003</c:v>
                </c:pt>
                <c:pt idx="2601">
                  <c:v>32.67</c:v>
                </c:pt>
                <c:pt idx="2602">
                  <c:v>29.43</c:v>
                </c:pt>
                <c:pt idx="2603">
                  <c:v>35.53</c:v>
                </c:pt>
                <c:pt idx="2604">
                  <c:v>42.94</c:v>
                </c:pt>
                <c:pt idx="2605">
                  <c:v>43.2</c:v>
                </c:pt>
                <c:pt idx="2606">
                  <c:v>38.14</c:v>
                </c:pt>
                <c:pt idx="2607">
                  <c:v>30.78</c:v>
                </c:pt>
                <c:pt idx="2608">
                  <c:v>30.34</c:v>
                </c:pt>
                <c:pt idx="2609">
                  <c:v>33.520000000000003</c:v>
                </c:pt>
                <c:pt idx="2610">
                  <c:v>31.68</c:v>
                </c:pt>
                <c:pt idx="2611">
                  <c:v>34.64</c:v>
                </c:pt>
                <c:pt idx="2612">
                  <c:v>44.28</c:v>
                </c:pt>
                <c:pt idx="2613">
                  <c:v>37.299999999999997</c:v>
                </c:pt>
                <c:pt idx="2614">
                  <c:v>38.86</c:v>
                </c:pt>
                <c:pt idx="2615">
                  <c:v>29.51</c:v>
                </c:pt>
                <c:pt idx="2616">
                  <c:v>10.75</c:v>
                </c:pt>
                <c:pt idx="2617">
                  <c:v>26.74</c:v>
                </c:pt>
                <c:pt idx="2618">
                  <c:v>27.21</c:v>
                </c:pt>
                <c:pt idx="2619">
                  <c:v>26.14</c:v>
                </c:pt>
                <c:pt idx="2620">
                  <c:v>36.369999999999997</c:v>
                </c:pt>
                <c:pt idx="2621">
                  <c:v>39.94</c:v>
                </c:pt>
                <c:pt idx="2622">
                  <c:v>28.68</c:v>
                </c:pt>
                <c:pt idx="2623">
                  <c:v>22.48</c:v>
                </c:pt>
                <c:pt idx="2624">
                  <c:v>38.93</c:v>
                </c:pt>
                <c:pt idx="2625">
                  <c:v>37.9</c:v>
                </c:pt>
                <c:pt idx="2626">
                  <c:v>34.85</c:v>
                </c:pt>
                <c:pt idx="2627">
                  <c:v>39.46</c:v>
                </c:pt>
                <c:pt idx="2628">
                  <c:v>36.67</c:v>
                </c:pt>
                <c:pt idx="2629">
                  <c:v>31.95</c:v>
                </c:pt>
                <c:pt idx="2630">
                  <c:v>27.55</c:v>
                </c:pt>
                <c:pt idx="2631">
                  <c:v>30.84</c:v>
                </c:pt>
                <c:pt idx="2632">
                  <c:v>31.93</c:v>
                </c:pt>
                <c:pt idx="2633">
                  <c:v>36.44</c:v>
                </c:pt>
                <c:pt idx="2634">
                  <c:v>37.229999999999997</c:v>
                </c:pt>
                <c:pt idx="2635">
                  <c:v>35.299999999999997</c:v>
                </c:pt>
                <c:pt idx="2636">
                  <c:v>30.97</c:v>
                </c:pt>
                <c:pt idx="2637">
                  <c:v>25.98</c:v>
                </c:pt>
                <c:pt idx="2638">
                  <c:v>41.2</c:v>
                </c:pt>
                <c:pt idx="2639">
                  <c:v>48.28</c:v>
                </c:pt>
                <c:pt idx="2640">
                  <c:v>39.54</c:v>
                </c:pt>
                <c:pt idx="2641">
                  <c:v>40.729999999999997</c:v>
                </c:pt>
                <c:pt idx="2642">
                  <c:v>33.69</c:v>
                </c:pt>
                <c:pt idx="2643">
                  <c:v>27.06</c:v>
                </c:pt>
                <c:pt idx="2644">
                  <c:v>12.13</c:v>
                </c:pt>
                <c:pt idx="2645">
                  <c:v>16.05</c:v>
                </c:pt>
                <c:pt idx="2646">
                  <c:v>17.850000000000001</c:v>
                </c:pt>
                <c:pt idx="2647">
                  <c:v>19.100000000000001</c:v>
                </c:pt>
                <c:pt idx="2648">
                  <c:v>32.25</c:v>
                </c:pt>
                <c:pt idx="2649">
                  <c:v>23.71</c:v>
                </c:pt>
                <c:pt idx="2650">
                  <c:v>27.98</c:v>
                </c:pt>
                <c:pt idx="2651">
                  <c:v>25.4</c:v>
                </c:pt>
                <c:pt idx="2652">
                  <c:v>25.84</c:v>
                </c:pt>
                <c:pt idx="2653">
                  <c:v>36.369999999999997</c:v>
                </c:pt>
                <c:pt idx="2654">
                  <c:v>41.98</c:v>
                </c:pt>
                <c:pt idx="2655">
                  <c:v>42.37</c:v>
                </c:pt>
                <c:pt idx="2656">
                  <c:v>35.53</c:v>
                </c:pt>
                <c:pt idx="2657">
                  <c:v>23.55</c:v>
                </c:pt>
                <c:pt idx="2658">
                  <c:v>-0.8</c:v>
                </c:pt>
                <c:pt idx="2659">
                  <c:v>21.17</c:v>
                </c:pt>
                <c:pt idx="2660">
                  <c:v>32.57</c:v>
                </c:pt>
                <c:pt idx="2661">
                  <c:v>26.96</c:v>
                </c:pt>
                <c:pt idx="2662">
                  <c:v>34.29</c:v>
                </c:pt>
                <c:pt idx="2663">
                  <c:v>37.29</c:v>
                </c:pt>
                <c:pt idx="2664">
                  <c:v>26.86</c:v>
                </c:pt>
                <c:pt idx="2665">
                  <c:v>23.27</c:v>
                </c:pt>
                <c:pt idx="2666">
                  <c:v>32.69</c:v>
                </c:pt>
                <c:pt idx="2667">
                  <c:v>30.41</c:v>
                </c:pt>
                <c:pt idx="2668">
                  <c:v>35.700000000000003</c:v>
                </c:pt>
                <c:pt idx="2669">
                  <c:v>34.71</c:v>
                </c:pt>
                <c:pt idx="2670">
                  <c:v>33.409999999999997</c:v>
                </c:pt>
                <c:pt idx="2671">
                  <c:v>26.61</c:v>
                </c:pt>
                <c:pt idx="2672">
                  <c:v>22.97</c:v>
                </c:pt>
                <c:pt idx="2673">
                  <c:v>35.04</c:v>
                </c:pt>
                <c:pt idx="2674">
                  <c:v>37.130000000000003</c:v>
                </c:pt>
                <c:pt idx="2675">
                  <c:v>32.369999999999997</c:v>
                </c:pt>
                <c:pt idx="2676">
                  <c:v>34.979999999999997</c:v>
                </c:pt>
                <c:pt idx="2677">
                  <c:v>23.21</c:v>
                </c:pt>
                <c:pt idx="2678">
                  <c:v>26.11</c:v>
                </c:pt>
                <c:pt idx="2679">
                  <c:v>17.13</c:v>
                </c:pt>
                <c:pt idx="2680">
                  <c:v>30.85</c:v>
                </c:pt>
                <c:pt idx="2681">
                  <c:v>26.77</c:v>
                </c:pt>
                <c:pt idx="2682">
                  <c:v>26</c:v>
                </c:pt>
                <c:pt idx="2683">
                  <c:v>27.87</c:v>
                </c:pt>
                <c:pt idx="2684">
                  <c:v>29.88</c:v>
                </c:pt>
                <c:pt idx="2685">
                  <c:v>17.28</c:v>
                </c:pt>
                <c:pt idx="2686">
                  <c:v>2.39</c:v>
                </c:pt>
                <c:pt idx="2687">
                  <c:v>29.24</c:v>
                </c:pt>
                <c:pt idx="2688">
                  <c:v>29.36</c:v>
                </c:pt>
                <c:pt idx="2689">
                  <c:v>26.4</c:v>
                </c:pt>
                <c:pt idx="2690">
                  <c:v>20.21</c:v>
                </c:pt>
                <c:pt idx="2691">
                  <c:v>30.58</c:v>
                </c:pt>
                <c:pt idx="2692">
                  <c:v>20.49</c:v>
                </c:pt>
                <c:pt idx="2693">
                  <c:v>12.27</c:v>
                </c:pt>
                <c:pt idx="2694">
                  <c:v>30.08</c:v>
                </c:pt>
                <c:pt idx="2695">
                  <c:v>28.75</c:v>
                </c:pt>
                <c:pt idx="2696">
                  <c:v>34.770000000000003</c:v>
                </c:pt>
                <c:pt idx="2697">
                  <c:v>33.99</c:v>
                </c:pt>
                <c:pt idx="2698">
                  <c:v>31.19</c:v>
                </c:pt>
                <c:pt idx="2699">
                  <c:v>24.42</c:v>
                </c:pt>
                <c:pt idx="2700">
                  <c:v>19.72</c:v>
                </c:pt>
                <c:pt idx="2701">
                  <c:v>23.52</c:v>
                </c:pt>
                <c:pt idx="2702">
                  <c:v>33.200000000000003</c:v>
                </c:pt>
                <c:pt idx="2703">
                  <c:v>31.96</c:v>
                </c:pt>
                <c:pt idx="2704">
                  <c:v>30.49</c:v>
                </c:pt>
                <c:pt idx="2705">
                  <c:v>31.12</c:v>
                </c:pt>
                <c:pt idx="2706">
                  <c:v>21.55</c:v>
                </c:pt>
                <c:pt idx="2707">
                  <c:v>15.3</c:v>
                </c:pt>
                <c:pt idx="2708">
                  <c:v>31.44</c:v>
                </c:pt>
                <c:pt idx="2709">
                  <c:v>22.03</c:v>
                </c:pt>
                <c:pt idx="2710">
                  <c:v>27.75</c:v>
                </c:pt>
                <c:pt idx="2711">
                  <c:v>28.93</c:v>
                </c:pt>
                <c:pt idx="2712">
                  <c:v>29.61</c:v>
                </c:pt>
                <c:pt idx="2713">
                  <c:v>23.63</c:v>
                </c:pt>
                <c:pt idx="2714">
                  <c:v>18.010000000000002</c:v>
                </c:pt>
                <c:pt idx="2715">
                  <c:v>30.64</c:v>
                </c:pt>
                <c:pt idx="2716">
                  <c:v>33.78</c:v>
                </c:pt>
                <c:pt idx="2717">
                  <c:v>32.43</c:v>
                </c:pt>
                <c:pt idx="2718">
                  <c:v>35.76</c:v>
                </c:pt>
                <c:pt idx="2719">
                  <c:v>35.200000000000003</c:v>
                </c:pt>
                <c:pt idx="2720">
                  <c:v>26.51</c:v>
                </c:pt>
                <c:pt idx="2721">
                  <c:v>18.489999999999998</c:v>
                </c:pt>
                <c:pt idx="2722">
                  <c:v>31.9</c:v>
                </c:pt>
                <c:pt idx="2723">
                  <c:v>37.47</c:v>
                </c:pt>
                <c:pt idx="2724">
                  <c:v>31.36</c:v>
                </c:pt>
                <c:pt idx="2725">
                  <c:v>32.58</c:v>
                </c:pt>
                <c:pt idx="2726">
                  <c:v>32.4</c:v>
                </c:pt>
                <c:pt idx="2727">
                  <c:v>28.08</c:v>
                </c:pt>
                <c:pt idx="2728">
                  <c:v>23.47</c:v>
                </c:pt>
                <c:pt idx="2729">
                  <c:v>33.25</c:v>
                </c:pt>
                <c:pt idx="2730">
                  <c:v>31.87</c:v>
                </c:pt>
                <c:pt idx="2731">
                  <c:v>30.59</c:v>
                </c:pt>
                <c:pt idx="2732">
                  <c:v>36.47</c:v>
                </c:pt>
                <c:pt idx="2733">
                  <c:v>36.270000000000003</c:v>
                </c:pt>
                <c:pt idx="2734">
                  <c:v>29.38</c:v>
                </c:pt>
                <c:pt idx="2735">
                  <c:v>20.99</c:v>
                </c:pt>
                <c:pt idx="2736">
                  <c:v>36.119999999999997</c:v>
                </c:pt>
                <c:pt idx="2737">
                  <c:v>35.549999999999997</c:v>
                </c:pt>
                <c:pt idx="2738">
                  <c:v>33.58</c:v>
                </c:pt>
                <c:pt idx="2739">
                  <c:v>33.9</c:v>
                </c:pt>
                <c:pt idx="2740">
                  <c:v>44.76</c:v>
                </c:pt>
                <c:pt idx="2741">
                  <c:v>33.619999999999997</c:v>
                </c:pt>
                <c:pt idx="2742">
                  <c:v>28.28</c:v>
                </c:pt>
                <c:pt idx="2743">
                  <c:v>37.049999999999997</c:v>
                </c:pt>
                <c:pt idx="2744">
                  <c:v>49.02</c:v>
                </c:pt>
                <c:pt idx="2745">
                  <c:v>29.57</c:v>
                </c:pt>
                <c:pt idx="2746">
                  <c:v>28.7</c:v>
                </c:pt>
                <c:pt idx="2747">
                  <c:v>32.14</c:v>
                </c:pt>
                <c:pt idx="2748">
                  <c:v>33.21</c:v>
                </c:pt>
                <c:pt idx="2749">
                  <c:v>27.9</c:v>
                </c:pt>
                <c:pt idx="2750">
                  <c:v>40.98</c:v>
                </c:pt>
                <c:pt idx="2751">
                  <c:v>41.61</c:v>
                </c:pt>
                <c:pt idx="2752">
                  <c:v>47.73</c:v>
                </c:pt>
                <c:pt idx="2753">
                  <c:v>45.59</c:v>
                </c:pt>
                <c:pt idx="2754">
                  <c:v>38.049999999999997</c:v>
                </c:pt>
                <c:pt idx="2755">
                  <c:v>37.64</c:v>
                </c:pt>
                <c:pt idx="2756">
                  <c:v>29.84</c:v>
                </c:pt>
                <c:pt idx="2757">
                  <c:v>41.77</c:v>
                </c:pt>
                <c:pt idx="2758">
                  <c:v>45.6</c:v>
                </c:pt>
                <c:pt idx="2759">
                  <c:v>46.7</c:v>
                </c:pt>
                <c:pt idx="2760">
                  <c:v>47.18</c:v>
                </c:pt>
                <c:pt idx="2761">
                  <c:v>45.5</c:v>
                </c:pt>
                <c:pt idx="2762">
                  <c:v>15.83</c:v>
                </c:pt>
                <c:pt idx="2763">
                  <c:v>11.04</c:v>
                </c:pt>
                <c:pt idx="2764">
                  <c:v>31.11</c:v>
                </c:pt>
                <c:pt idx="2765">
                  <c:v>24.56</c:v>
                </c:pt>
                <c:pt idx="2766">
                  <c:v>27.4</c:v>
                </c:pt>
                <c:pt idx="2767">
                  <c:v>24.5</c:v>
                </c:pt>
                <c:pt idx="2768">
                  <c:v>30.52</c:v>
                </c:pt>
                <c:pt idx="2769">
                  <c:v>22.4</c:v>
                </c:pt>
                <c:pt idx="2770">
                  <c:v>17.29</c:v>
                </c:pt>
                <c:pt idx="2771">
                  <c:v>28.93</c:v>
                </c:pt>
                <c:pt idx="2772">
                  <c:v>33.200000000000003</c:v>
                </c:pt>
                <c:pt idx="2773">
                  <c:v>34.81</c:v>
                </c:pt>
                <c:pt idx="2774">
                  <c:v>34.450000000000003</c:v>
                </c:pt>
                <c:pt idx="2775">
                  <c:v>34.22</c:v>
                </c:pt>
                <c:pt idx="2776">
                  <c:v>28.29</c:v>
                </c:pt>
                <c:pt idx="2777">
                  <c:v>26.99</c:v>
                </c:pt>
                <c:pt idx="2778">
                  <c:v>34.31</c:v>
                </c:pt>
                <c:pt idx="2779">
                  <c:v>38.79</c:v>
                </c:pt>
                <c:pt idx="2780">
                  <c:v>37.590000000000003</c:v>
                </c:pt>
                <c:pt idx="2781">
                  <c:v>34.21</c:v>
                </c:pt>
                <c:pt idx="2782">
                  <c:v>30.47</c:v>
                </c:pt>
                <c:pt idx="2783">
                  <c:v>32.380000000000003</c:v>
                </c:pt>
                <c:pt idx="2784">
                  <c:v>30.07</c:v>
                </c:pt>
                <c:pt idx="2785">
                  <c:v>40.450000000000003</c:v>
                </c:pt>
                <c:pt idx="2786">
                  <c:v>37.58</c:v>
                </c:pt>
                <c:pt idx="2787">
                  <c:v>39.46</c:v>
                </c:pt>
                <c:pt idx="2788">
                  <c:v>37.35</c:v>
                </c:pt>
                <c:pt idx="2789">
                  <c:v>31.92</c:v>
                </c:pt>
                <c:pt idx="2790">
                  <c:v>27.52</c:v>
                </c:pt>
                <c:pt idx="2791">
                  <c:v>16.87</c:v>
                </c:pt>
                <c:pt idx="2792">
                  <c:v>30.91</c:v>
                </c:pt>
                <c:pt idx="2793">
                  <c:v>26</c:v>
                </c:pt>
                <c:pt idx="2794">
                  <c:v>29.31</c:v>
                </c:pt>
                <c:pt idx="2795">
                  <c:v>30.89</c:v>
                </c:pt>
                <c:pt idx="2796">
                  <c:v>41</c:v>
                </c:pt>
                <c:pt idx="2797">
                  <c:v>30.04</c:v>
                </c:pt>
                <c:pt idx="2798">
                  <c:v>26.6</c:v>
                </c:pt>
                <c:pt idx="2799">
                  <c:v>35.5</c:v>
                </c:pt>
                <c:pt idx="2800">
                  <c:v>39.14</c:v>
                </c:pt>
                <c:pt idx="2801">
                  <c:v>37.619999999999997</c:v>
                </c:pt>
                <c:pt idx="2802">
                  <c:v>40.76</c:v>
                </c:pt>
                <c:pt idx="2803">
                  <c:v>33.020000000000003</c:v>
                </c:pt>
                <c:pt idx="2804">
                  <c:v>19.739999999999998</c:v>
                </c:pt>
                <c:pt idx="2805">
                  <c:v>1.51</c:v>
                </c:pt>
                <c:pt idx="2806">
                  <c:v>32.520000000000003</c:v>
                </c:pt>
                <c:pt idx="2807">
                  <c:v>35.47</c:v>
                </c:pt>
                <c:pt idx="2808">
                  <c:v>34.53</c:v>
                </c:pt>
                <c:pt idx="2809">
                  <c:v>33.75</c:v>
                </c:pt>
                <c:pt idx="2810">
                  <c:v>33.47</c:v>
                </c:pt>
                <c:pt idx="2811">
                  <c:v>30.63</c:v>
                </c:pt>
                <c:pt idx="2812">
                  <c:v>25.97</c:v>
                </c:pt>
                <c:pt idx="2813">
                  <c:v>33.909999999999997</c:v>
                </c:pt>
                <c:pt idx="2814">
                  <c:v>28.25</c:v>
                </c:pt>
                <c:pt idx="2815">
                  <c:v>33.93</c:v>
                </c:pt>
                <c:pt idx="2816">
                  <c:v>27.7</c:v>
                </c:pt>
                <c:pt idx="2817">
                  <c:v>36.47</c:v>
                </c:pt>
                <c:pt idx="2818">
                  <c:v>30.54</c:v>
                </c:pt>
                <c:pt idx="2819">
                  <c:v>21.88</c:v>
                </c:pt>
                <c:pt idx="2820">
                  <c:v>36.72</c:v>
                </c:pt>
                <c:pt idx="2821">
                  <c:v>33.44</c:v>
                </c:pt>
                <c:pt idx="2822">
                  <c:v>43.25</c:v>
                </c:pt>
                <c:pt idx="2823">
                  <c:v>32.020000000000003</c:v>
                </c:pt>
                <c:pt idx="2824">
                  <c:v>35.380000000000003</c:v>
                </c:pt>
                <c:pt idx="2825">
                  <c:v>32.94</c:v>
                </c:pt>
                <c:pt idx="2826">
                  <c:v>26.01</c:v>
                </c:pt>
                <c:pt idx="2827">
                  <c:v>34.47</c:v>
                </c:pt>
                <c:pt idx="2828">
                  <c:v>34.369999999999997</c:v>
                </c:pt>
                <c:pt idx="2829">
                  <c:v>37.020000000000003</c:v>
                </c:pt>
                <c:pt idx="2830">
                  <c:v>39.020000000000003</c:v>
                </c:pt>
                <c:pt idx="2831">
                  <c:v>37.979999999999997</c:v>
                </c:pt>
                <c:pt idx="2832">
                  <c:v>28.85</c:v>
                </c:pt>
                <c:pt idx="2833">
                  <c:v>31.18</c:v>
                </c:pt>
                <c:pt idx="2834">
                  <c:v>39.299999999999997</c:v>
                </c:pt>
                <c:pt idx="2835">
                  <c:v>37.229999999999997</c:v>
                </c:pt>
                <c:pt idx="2836">
                  <c:v>40.479999999999997</c:v>
                </c:pt>
                <c:pt idx="2837">
                  <c:v>47.14</c:v>
                </c:pt>
                <c:pt idx="2838">
                  <c:v>44.34</c:v>
                </c:pt>
                <c:pt idx="2839">
                  <c:v>33.64</c:v>
                </c:pt>
                <c:pt idx="2840">
                  <c:v>21.91</c:v>
                </c:pt>
                <c:pt idx="2841">
                  <c:v>34.840000000000003</c:v>
                </c:pt>
                <c:pt idx="2842">
                  <c:v>42.15</c:v>
                </c:pt>
                <c:pt idx="2843">
                  <c:v>44.7</c:v>
                </c:pt>
                <c:pt idx="2844">
                  <c:v>39.85</c:v>
                </c:pt>
                <c:pt idx="2845">
                  <c:v>47.34</c:v>
                </c:pt>
                <c:pt idx="2846">
                  <c:v>40.46</c:v>
                </c:pt>
                <c:pt idx="2847">
                  <c:v>37.479999999999997</c:v>
                </c:pt>
                <c:pt idx="2848">
                  <c:v>50.72</c:v>
                </c:pt>
                <c:pt idx="2849">
                  <c:v>48.4</c:v>
                </c:pt>
                <c:pt idx="2850">
                  <c:v>41.7</c:v>
                </c:pt>
                <c:pt idx="2851">
                  <c:v>37.21</c:v>
                </c:pt>
                <c:pt idx="2852">
                  <c:v>37.78</c:v>
                </c:pt>
                <c:pt idx="2853">
                  <c:v>32.81</c:v>
                </c:pt>
                <c:pt idx="2854">
                  <c:v>33.32</c:v>
                </c:pt>
                <c:pt idx="2855">
                  <c:v>39.520000000000003</c:v>
                </c:pt>
                <c:pt idx="2856">
                  <c:v>40.369999999999997</c:v>
                </c:pt>
                <c:pt idx="2857">
                  <c:v>42.2</c:v>
                </c:pt>
                <c:pt idx="2858">
                  <c:v>49.64</c:v>
                </c:pt>
                <c:pt idx="2859">
                  <c:v>43.2</c:v>
                </c:pt>
                <c:pt idx="2860">
                  <c:v>35.729999999999997</c:v>
                </c:pt>
                <c:pt idx="2861">
                  <c:v>31.57</c:v>
                </c:pt>
                <c:pt idx="2862">
                  <c:v>39.96</c:v>
                </c:pt>
                <c:pt idx="2863">
                  <c:v>41.65</c:v>
                </c:pt>
                <c:pt idx="2864">
                  <c:v>42.31</c:v>
                </c:pt>
                <c:pt idx="2865">
                  <c:v>43.97</c:v>
                </c:pt>
                <c:pt idx="2866">
                  <c:v>36.67</c:v>
                </c:pt>
                <c:pt idx="2867">
                  <c:v>29.45</c:v>
                </c:pt>
                <c:pt idx="2868">
                  <c:v>20.64</c:v>
                </c:pt>
                <c:pt idx="2869">
                  <c:v>28.68</c:v>
                </c:pt>
                <c:pt idx="2870">
                  <c:v>28.84</c:v>
                </c:pt>
                <c:pt idx="2871">
                  <c:v>35.08</c:v>
                </c:pt>
                <c:pt idx="2872">
                  <c:v>36.450000000000003</c:v>
                </c:pt>
                <c:pt idx="2873">
                  <c:v>32.090000000000003</c:v>
                </c:pt>
                <c:pt idx="2874">
                  <c:v>20.69</c:v>
                </c:pt>
                <c:pt idx="2875">
                  <c:v>23.83</c:v>
                </c:pt>
                <c:pt idx="2876">
                  <c:v>30.51</c:v>
                </c:pt>
                <c:pt idx="2877">
                  <c:v>31.72</c:v>
                </c:pt>
                <c:pt idx="2878">
                  <c:v>20.440000000000001</c:v>
                </c:pt>
                <c:pt idx="2879">
                  <c:v>24.85</c:v>
                </c:pt>
                <c:pt idx="2880">
                  <c:v>38.17</c:v>
                </c:pt>
                <c:pt idx="2881">
                  <c:v>29.74</c:v>
                </c:pt>
                <c:pt idx="2882">
                  <c:v>26.02</c:v>
                </c:pt>
                <c:pt idx="2883">
                  <c:v>49.43</c:v>
                </c:pt>
                <c:pt idx="2884">
                  <c:v>35.21</c:v>
                </c:pt>
                <c:pt idx="2885">
                  <c:v>41.73</c:v>
                </c:pt>
                <c:pt idx="2886">
                  <c:v>51.27</c:v>
                </c:pt>
                <c:pt idx="2887">
                  <c:v>36.770000000000003</c:v>
                </c:pt>
                <c:pt idx="2888">
                  <c:v>27.87</c:v>
                </c:pt>
                <c:pt idx="2889">
                  <c:v>10.81</c:v>
                </c:pt>
                <c:pt idx="2890">
                  <c:v>25.28</c:v>
                </c:pt>
                <c:pt idx="2891">
                  <c:v>35.67</c:v>
                </c:pt>
                <c:pt idx="2892">
                  <c:v>36.4</c:v>
                </c:pt>
                <c:pt idx="2893">
                  <c:v>42.53</c:v>
                </c:pt>
                <c:pt idx="2894">
                  <c:v>30.73</c:v>
                </c:pt>
                <c:pt idx="2895">
                  <c:v>23.5</c:v>
                </c:pt>
                <c:pt idx="2896">
                  <c:v>17.559999999999999</c:v>
                </c:pt>
                <c:pt idx="2897">
                  <c:v>40.61</c:v>
                </c:pt>
                <c:pt idx="2898">
                  <c:v>34.729999999999997</c:v>
                </c:pt>
                <c:pt idx="2899">
                  <c:v>34.950000000000003</c:v>
                </c:pt>
                <c:pt idx="2900">
                  <c:v>29.46</c:v>
                </c:pt>
                <c:pt idx="2901">
                  <c:v>26.4</c:v>
                </c:pt>
                <c:pt idx="2902">
                  <c:v>25.82</c:v>
                </c:pt>
                <c:pt idx="2903">
                  <c:v>27.1</c:v>
                </c:pt>
                <c:pt idx="2904">
                  <c:v>41.94</c:v>
                </c:pt>
                <c:pt idx="2905">
                  <c:v>42.61</c:v>
                </c:pt>
                <c:pt idx="2906">
                  <c:v>36.97</c:v>
                </c:pt>
                <c:pt idx="2907">
                  <c:v>32.47</c:v>
                </c:pt>
                <c:pt idx="2908">
                  <c:v>32.64</c:v>
                </c:pt>
                <c:pt idx="2909">
                  <c:v>26.87</c:v>
                </c:pt>
                <c:pt idx="2910">
                  <c:v>17.329999999999998</c:v>
                </c:pt>
                <c:pt idx="2911">
                  <c:v>24.98</c:v>
                </c:pt>
                <c:pt idx="2912">
                  <c:v>16.98</c:v>
                </c:pt>
                <c:pt idx="2913">
                  <c:v>19.510000000000002</c:v>
                </c:pt>
                <c:pt idx="2914">
                  <c:v>17.27</c:v>
                </c:pt>
                <c:pt idx="2915">
                  <c:v>13.3</c:v>
                </c:pt>
                <c:pt idx="2916">
                  <c:v>6.79</c:v>
                </c:pt>
                <c:pt idx="2917">
                  <c:v>15.53</c:v>
                </c:pt>
                <c:pt idx="2918">
                  <c:v>30.81</c:v>
                </c:pt>
                <c:pt idx="2919">
                  <c:v>30.96</c:v>
                </c:pt>
                <c:pt idx="2920">
                  <c:v>26.86</c:v>
                </c:pt>
                <c:pt idx="2921">
                  <c:v>21.92</c:v>
                </c:pt>
                <c:pt idx="2922">
                  <c:v>24.95</c:v>
                </c:pt>
                <c:pt idx="2923">
                  <c:v>18.14</c:v>
                </c:pt>
                <c:pt idx="2924">
                  <c:v>14.15</c:v>
                </c:pt>
                <c:pt idx="2925">
                  <c:v>27.47</c:v>
                </c:pt>
                <c:pt idx="2926">
                  <c:v>33.39</c:v>
                </c:pt>
                <c:pt idx="2927">
                  <c:v>33.61</c:v>
                </c:pt>
                <c:pt idx="2928">
                  <c:v>33.4</c:v>
                </c:pt>
                <c:pt idx="2929">
                  <c:v>26.97</c:v>
                </c:pt>
                <c:pt idx="2930">
                  <c:v>28.9</c:v>
                </c:pt>
                <c:pt idx="2931">
                  <c:v>20.56</c:v>
                </c:pt>
                <c:pt idx="2932">
                  <c:v>33.619999999999997</c:v>
                </c:pt>
                <c:pt idx="2933">
                  <c:v>29.45</c:v>
                </c:pt>
                <c:pt idx="2934">
                  <c:v>29.16</c:v>
                </c:pt>
                <c:pt idx="2935">
                  <c:v>33.590000000000003</c:v>
                </c:pt>
                <c:pt idx="2936">
                  <c:v>35.4</c:v>
                </c:pt>
                <c:pt idx="2937">
                  <c:v>28.32</c:v>
                </c:pt>
                <c:pt idx="2938">
                  <c:v>27.57</c:v>
                </c:pt>
                <c:pt idx="2939">
                  <c:v>38.869999999999997</c:v>
                </c:pt>
                <c:pt idx="2940">
                  <c:v>48.2</c:v>
                </c:pt>
                <c:pt idx="2941">
                  <c:v>48.73</c:v>
                </c:pt>
                <c:pt idx="2942">
                  <c:v>52.18</c:v>
                </c:pt>
                <c:pt idx="2943">
                  <c:v>33.29</c:v>
                </c:pt>
                <c:pt idx="2944">
                  <c:v>28.28</c:v>
                </c:pt>
                <c:pt idx="2945">
                  <c:v>26.35</c:v>
                </c:pt>
                <c:pt idx="2946">
                  <c:v>28.34</c:v>
                </c:pt>
                <c:pt idx="2947">
                  <c:v>25.51</c:v>
                </c:pt>
                <c:pt idx="2948">
                  <c:v>19.2</c:v>
                </c:pt>
                <c:pt idx="2949">
                  <c:v>25.8</c:v>
                </c:pt>
                <c:pt idx="2950">
                  <c:v>22.65</c:v>
                </c:pt>
                <c:pt idx="2951">
                  <c:v>12.05</c:v>
                </c:pt>
                <c:pt idx="2952">
                  <c:v>12.05</c:v>
                </c:pt>
                <c:pt idx="2953">
                  <c:v>21.25</c:v>
                </c:pt>
                <c:pt idx="2954">
                  <c:v>16.57</c:v>
                </c:pt>
                <c:pt idx="2955">
                  <c:v>22.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5862144"/>
        <c:axId val="625862536"/>
      </c:lineChart>
      <c:dateAx>
        <c:axId val="625862144"/>
        <c:scaling>
          <c:orientation val="minMax"/>
        </c:scaling>
        <c:delete val="0"/>
        <c:axPos val="b"/>
        <c:numFmt formatCode="dd/mm/yy;@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25862536"/>
        <c:crosses val="autoZero"/>
        <c:auto val="1"/>
        <c:lblOffset val="100"/>
        <c:baseTimeUnit val="days"/>
      </c:dateAx>
      <c:valAx>
        <c:axId val="625862536"/>
        <c:scaling>
          <c:orientation val="minMax"/>
          <c:min val="0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UR/MW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25862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900"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>
              <a:latin typeface="Sweco Sans" panose="00000500000000000000" pitchFamily="50" charset="0"/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66789-7B4A-4F00-9286-DDD8ED65D568}" type="datetimeFigureOut">
              <a:rPr lang="sv-SE" smtClean="0">
                <a:latin typeface="Sweco Sans" panose="00000500000000000000" pitchFamily="50" charset="0"/>
              </a:rPr>
              <a:t>2016-02-04</a:t>
            </a:fld>
            <a:endParaRPr lang="sv-SE" dirty="0">
              <a:latin typeface="Sweco Sans" panose="00000500000000000000" pitchFamily="50" charset="0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>
              <a:latin typeface="Sweco Sans" panose="00000500000000000000" pitchFamily="50" charset="0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B7E181-C03F-4811-9B36-CB7788F180BA}" type="slidenum">
              <a:rPr lang="sv-SE" smtClean="0">
                <a:latin typeface="Sweco Sans" panose="00000500000000000000" pitchFamily="50" charset="0"/>
              </a:rPr>
              <a:t>‹#›</a:t>
            </a:fld>
            <a:endParaRPr lang="sv-SE" dirty="0">
              <a:latin typeface="Sweco Sa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318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eco Sans" panose="00000500000000000000" pitchFamily="50" charset="0"/>
              </a:defRPr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eco Sans" panose="00000500000000000000" pitchFamily="50" charset="0"/>
              </a:defRPr>
            </a:lvl1pPr>
          </a:lstStyle>
          <a:p>
            <a:fld id="{7F3F61B6-EEAE-45CF-BC26-93497CBA11EE}" type="datetimeFigureOut">
              <a:rPr lang="sv-SE" smtClean="0"/>
              <a:pPr/>
              <a:t>2016-02-04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eco Sans" panose="00000500000000000000" pitchFamily="50" charset="0"/>
              </a:defRPr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eco Sans" panose="00000500000000000000" pitchFamily="50" charset="0"/>
              </a:defRPr>
            </a:lvl1pPr>
          </a:lstStyle>
          <a:p>
            <a:fld id="{7850F7A7-DA63-4A74-9242-8131DBB6E085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72779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eco Sans" panose="000005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weco Sans" panose="000005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weco Sans" panose="000005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weco Sans" panose="000005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weco Sans" panose="000005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C4FEA-6C06-4B81-9B83-7BF4BE2D52DD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378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C4FEA-6C06-4B81-9B83-7BF4BE2D52DD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7132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C4FEA-6C06-4B81-9B83-7BF4BE2D52DD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274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C4FEA-6C06-4B81-9B83-7BF4BE2D52DD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549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(1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3075" cap="all" baseline="0">
                <a:solidFill>
                  <a:schemeClr val="tx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BED36C-5960-48EB-A283-4AF38C7BA0A5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3F3F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429052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ida (2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  <a:solidFill>
            <a:schemeClr val="tx1"/>
          </a:solidFill>
        </p:spPr>
        <p:txBody>
          <a:bodyPr anchor="t">
            <a:normAutofit/>
          </a:bodyPr>
          <a:lstStyle>
            <a:lvl1pPr algn="l">
              <a:defRPr sz="3075" cap="all" baseline="0">
                <a:solidFill>
                  <a:srgbClr val="8593AF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8593AF"/>
                </a:solidFill>
              </a:defRPr>
            </a:lvl1pPr>
          </a:lstStyle>
          <a:p>
            <a:fld id="{A828C520-761D-466F-978F-A4AC929A9275}" type="datetime1">
              <a:rPr lang="sv-SE" smtClean="0"/>
              <a:pPr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593AF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pic>
        <p:nvPicPr>
          <p:cNvPr id="10" name="Picture 9" descr="Blå logga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79311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3075" cap="all" baseline="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ED9FD24-A382-42EA-92A8-5177F8A191AF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082900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med bild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3075" cap="all" baseline="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B244FAC-9895-4BAB-B00A-818C454E16CC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210" y="261313"/>
            <a:ext cx="1372500" cy="41625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9450" indent="0">
              <a:buNone/>
              <a:defRPr sz="100"/>
            </a:lvl1pPr>
          </a:lstStyle>
          <a:p>
            <a:pPr lvl="0"/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3F3F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3037254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54225"/>
            <a:ext cx="5841206" cy="2387600"/>
          </a:xfrm>
        </p:spPr>
        <p:txBody>
          <a:bodyPr anchor="t">
            <a:normAutofit/>
          </a:bodyPr>
          <a:lstStyle>
            <a:lvl1pPr algn="l">
              <a:defRPr sz="1800" cap="all" baseline="0">
                <a:solidFill>
                  <a:schemeClr val="accent3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CBA91-6427-4B75-A109-F62270945E19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11" name="Platshållare för bild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5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9656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54225"/>
            <a:ext cx="5841206" cy="2387600"/>
          </a:xfrm>
        </p:spPr>
        <p:txBody>
          <a:bodyPr anchor="t">
            <a:normAutofit/>
          </a:bodyPr>
          <a:lstStyle>
            <a:lvl1pPr algn="l">
              <a:defRPr sz="1800" cap="all" baseline="0">
                <a:solidFill>
                  <a:schemeClr val="accent3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2557C22-1542-490E-A4A4-8BB8EA2F367C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3F3F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371983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(3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54225"/>
            <a:ext cx="5841206" cy="2387600"/>
          </a:xfrm>
        </p:spPr>
        <p:txBody>
          <a:bodyPr anchor="t">
            <a:normAutofit/>
          </a:bodyPr>
          <a:lstStyle>
            <a:lvl1pPr algn="l">
              <a:defRPr sz="1800" cap="all" baseline="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985D5F-AF4D-4B2F-ABAD-745A6DBEB955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644772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 (4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16125"/>
            <a:ext cx="2983706" cy="2387600"/>
          </a:xfrm>
        </p:spPr>
        <p:txBody>
          <a:bodyPr anchor="t">
            <a:normAutofit/>
          </a:bodyPr>
          <a:lstStyle>
            <a:lvl1pPr algn="l">
              <a:defRPr sz="2925" cap="all" baseline="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C6ED73A-3DB2-422B-9CA9-CF6A1F3A815E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3F3F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2625170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end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FD871E-C556-437D-89D2-3C5571736C96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pic>
        <p:nvPicPr>
          <p:cNvPr id="7" name="Picture 6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526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44FA1-2EE7-4CE8-B327-5939691C84DB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Picture 4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3335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 (1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683" r="12436"/>
          <a:stretch/>
        </p:blipFill>
        <p:spPr>
          <a:xfrm>
            <a:off x="198000" y="236332"/>
            <a:ext cx="8748000" cy="6385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212" y="2851015"/>
            <a:ext cx="3811576" cy="1155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7131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10" name="Platshållare för datum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12" name="Platshållare för bild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pic>
        <p:nvPicPr>
          <p:cNvPr id="8" name="Picture 7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8086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 (2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198000" y="243000"/>
            <a:ext cx="8748000" cy="63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212" y="2851015"/>
            <a:ext cx="3811576" cy="1155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7231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 (3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198000" y="243000"/>
            <a:ext cx="8748000" cy="63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212" y="2851015"/>
            <a:ext cx="3811576" cy="1155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3220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 (4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198000" y="243000"/>
            <a:ext cx="8748000" cy="63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212" y="2851015"/>
            <a:ext cx="3811576" cy="1155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641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31A02F-E358-4200-9537-986185DE2E6E}" type="datetime1">
              <a:rPr lang="sv-SE" smtClean="0"/>
              <a:t>2016-02-0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CDCEE-9FA8-4ACB-ADB8-903AA2FBA300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12494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2456" y="2059818"/>
            <a:ext cx="4362450" cy="4307418"/>
          </a:xfrm>
        </p:spPr>
        <p:txBody>
          <a:bodyPr/>
          <a:lstStyle>
            <a:lvl1pPr marL="9450" indent="0">
              <a:buNone/>
              <a:defRPr/>
            </a:lvl1pPr>
            <a:lvl2pPr marL="352350" indent="0">
              <a:buNone/>
              <a:defRPr/>
            </a:lvl2pPr>
            <a:lvl3pPr marL="695250" indent="0">
              <a:buNone/>
              <a:defRPr/>
            </a:lvl3pPr>
            <a:lvl4pPr marL="1038150" indent="0">
              <a:buNone/>
              <a:defRPr/>
            </a:lvl4pPr>
            <a:lvl5pPr marL="1381050" indent="0"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F5FF8-A9AB-4ECE-BD22-015C6EA7BCCA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607219" y="6400800"/>
            <a:ext cx="1443038" cy="241300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/>
              <a:t>Gendiatur</a:t>
            </a:r>
            <a:r>
              <a:rPr lang="en-GB" dirty="0" smtClean="0"/>
              <a:t>, </a:t>
            </a:r>
            <a:r>
              <a:rPr lang="en-GB" dirty="0" err="1" smtClean="0"/>
              <a:t>que</a:t>
            </a:r>
            <a:r>
              <a:rPr lang="en-GB" dirty="0" smtClean="0"/>
              <a:t> </a:t>
            </a:r>
            <a:r>
              <a:rPr lang="en-GB" dirty="0" err="1" smtClean="0"/>
              <a:t>reiunt</a:t>
            </a:r>
            <a:r>
              <a:rPr lang="en-GB" dirty="0" smtClean="0"/>
              <a:t> </a:t>
            </a:r>
            <a:r>
              <a:rPr lang="en-GB" dirty="0" err="1" smtClean="0"/>
              <a:t>explabo</a:t>
            </a:r>
            <a:r>
              <a:rPr lang="en-GB" dirty="0" smtClean="0"/>
              <a:t>.  </a:t>
            </a:r>
            <a:r>
              <a:rPr lang="en-GB" dirty="0" err="1" smtClean="0"/>
              <a:t>Ut</a:t>
            </a:r>
            <a:r>
              <a:rPr lang="en-GB" dirty="0" smtClean="0"/>
              <a:t> </a:t>
            </a:r>
            <a:r>
              <a:rPr lang="en-GB" dirty="0" err="1" smtClean="0"/>
              <a:t>asinctiis</a:t>
            </a:r>
            <a:r>
              <a:rPr lang="en-GB" dirty="0" smtClean="0"/>
              <a:t> de </a:t>
            </a:r>
            <a:r>
              <a:rPr lang="en-GB" dirty="0" err="1" smtClean="0"/>
              <a:t>vollaccab</a:t>
            </a:r>
            <a:r>
              <a:rPr lang="en-GB" dirty="0" smtClean="0"/>
              <a:t> </a:t>
            </a:r>
            <a:r>
              <a:rPr lang="en-GB" dirty="0" err="1" smtClean="0"/>
              <a:t>isUnt</a:t>
            </a:r>
            <a:r>
              <a:rPr lang="en-GB" dirty="0" smtClean="0"/>
              <a:t> et </a:t>
            </a:r>
            <a:r>
              <a:rPr lang="en-GB" dirty="0" err="1" smtClean="0"/>
              <a:t>eos</a:t>
            </a:r>
            <a:r>
              <a:rPr lang="en-GB" dirty="0" smtClean="0"/>
              <a:t> </a:t>
            </a:r>
            <a:r>
              <a:rPr lang="en-GB" dirty="0" err="1" smtClean="0"/>
              <a:t>quatiandandi</a:t>
            </a:r>
            <a:r>
              <a:rPr lang="en-GB" dirty="0" smtClean="0"/>
              <a:t> </a:t>
            </a:r>
            <a:r>
              <a:rPr lang="en-GB" dirty="0" err="1" smtClean="0"/>
              <a:t>dellecu</a:t>
            </a:r>
            <a:r>
              <a:rPr lang="en-GB" dirty="0" smtClean="0"/>
              <a:t> </a:t>
            </a:r>
            <a:r>
              <a:rPr lang="en-GB" dirty="0" err="1" smtClean="0"/>
              <a:t>lluptiist</a:t>
            </a: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7" name="Picture 6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9160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2457" y="2059818"/>
            <a:ext cx="3498056" cy="4321932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A3186-11D1-493F-B1DF-9D2A239EE9D6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4608513" y="2097088"/>
            <a:ext cx="4337469" cy="4284663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sv-SE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607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2457" y="2059818"/>
            <a:ext cx="3498056" cy="4321932"/>
          </a:xfrm>
        </p:spPr>
        <p:txBody>
          <a:bodyPr/>
          <a:lstStyle>
            <a:lvl1pPr marL="9450" indent="0">
              <a:buNone/>
              <a:defRPr/>
            </a:lvl1pPr>
            <a:lvl2pPr marL="352350" indent="0">
              <a:buNone/>
              <a:defRPr/>
            </a:lvl2pPr>
            <a:lvl3pPr marL="695250" indent="0">
              <a:buNone/>
              <a:defRPr/>
            </a:lvl3pPr>
            <a:lvl4pPr marL="1038150" indent="0">
              <a:buNone/>
              <a:defRPr/>
            </a:lvl4pPr>
            <a:lvl5pPr marL="1381050" indent="0"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867A8-1256-4B3D-985C-65275CEB08F4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4608513" y="2097088"/>
            <a:ext cx="4337469" cy="4284662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sv-SE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6099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2457" y="2059818"/>
            <a:ext cx="3920068" cy="4321932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4EBDA-8880-4E4E-90F1-3CBF2CED0CD2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latshållare för innehåll 8"/>
          <p:cNvSpPr>
            <a:spLocks noGrp="1"/>
          </p:cNvSpPr>
          <p:nvPr>
            <p:ph sz="quarter" idx="13"/>
          </p:nvPr>
        </p:nvSpPr>
        <p:spPr>
          <a:xfrm>
            <a:off x="4608513" y="2060576"/>
            <a:ext cx="4337469" cy="4321175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pic>
        <p:nvPicPr>
          <p:cNvPr id="8" name="Picture 7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701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2BBD9-EE2B-435B-8DA0-E585B756EBDC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609600" y="1633152"/>
            <a:ext cx="8343900" cy="344757"/>
          </a:xfrm>
        </p:spPr>
        <p:txBody>
          <a:bodyPr/>
          <a:lstStyle>
            <a:lvl1pPr marL="9450" indent="0">
              <a:buNone/>
              <a:defRPr/>
            </a:lvl1pPr>
            <a:lvl2pPr marL="352350" indent="0">
              <a:buNone/>
              <a:defRPr/>
            </a:lvl2pPr>
            <a:lvl3pPr marL="695250" indent="0">
              <a:buNone/>
              <a:defRPr/>
            </a:lvl3pPr>
            <a:lvl4pPr marL="1038150" indent="0">
              <a:buNone/>
              <a:defRPr/>
            </a:lvl4pPr>
            <a:lvl5pPr marL="1381050" indent="0"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11" name="Platshållare för diagram 10"/>
          <p:cNvSpPr>
            <a:spLocks noGrp="1"/>
          </p:cNvSpPr>
          <p:nvPr>
            <p:ph type="chart" sz="quarter" idx="14"/>
          </p:nvPr>
        </p:nvSpPr>
        <p:spPr>
          <a:xfrm>
            <a:off x="602457" y="2059818"/>
            <a:ext cx="8227481" cy="4307418"/>
          </a:xfrm>
        </p:spPr>
        <p:txBody>
          <a:bodyPr/>
          <a:lstStyle/>
          <a:p>
            <a:r>
              <a:rPr lang="sv-SE" smtClean="0"/>
              <a:t>Klicka på ikonen för att lägga till ett diagram</a:t>
            </a:r>
            <a:endParaRPr lang="sv-SE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0417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05BF28-3962-486A-AC88-995557FC034E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/>
          </p:nvPr>
        </p:nvSpPr>
        <p:spPr>
          <a:xfrm>
            <a:off x="609600" y="1633152"/>
            <a:ext cx="8343900" cy="344757"/>
          </a:xfrm>
        </p:spPr>
        <p:txBody>
          <a:bodyPr/>
          <a:lstStyle>
            <a:lvl1pPr marL="9450" indent="0">
              <a:buNone/>
              <a:defRPr/>
            </a:lvl1pPr>
            <a:lvl2pPr marL="352350" indent="0">
              <a:buNone/>
              <a:defRPr/>
            </a:lvl2pPr>
            <a:lvl3pPr marL="695250" indent="0">
              <a:buNone/>
              <a:defRPr/>
            </a:lvl3pPr>
            <a:lvl4pPr marL="1038150" indent="0">
              <a:buNone/>
              <a:defRPr/>
            </a:lvl4pPr>
            <a:lvl5pPr marL="1381050" indent="0"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11" name="Platshållare för diagram 10"/>
          <p:cNvSpPr>
            <a:spLocks noGrp="1"/>
          </p:cNvSpPr>
          <p:nvPr>
            <p:ph type="chart" sz="quarter" idx="14"/>
          </p:nvPr>
        </p:nvSpPr>
        <p:spPr>
          <a:xfrm>
            <a:off x="602457" y="2059818"/>
            <a:ext cx="3920068" cy="4321932"/>
          </a:xfrm>
        </p:spPr>
        <p:txBody>
          <a:bodyPr/>
          <a:lstStyle/>
          <a:p>
            <a:r>
              <a:rPr lang="sv-SE" smtClean="0"/>
              <a:t>Klicka på ikonen för att lägga till ett diagram</a:t>
            </a:r>
            <a:endParaRPr lang="sv-SE"/>
          </a:p>
        </p:txBody>
      </p:sp>
      <p:sp>
        <p:nvSpPr>
          <p:cNvPr id="7" name="Platshållare för diagram 6"/>
          <p:cNvSpPr>
            <a:spLocks noGrp="1"/>
          </p:cNvSpPr>
          <p:nvPr>
            <p:ph type="chart" sz="quarter" idx="15"/>
          </p:nvPr>
        </p:nvSpPr>
        <p:spPr>
          <a:xfrm>
            <a:off x="4608513" y="2060576"/>
            <a:ext cx="4337469" cy="4321175"/>
          </a:xfrm>
        </p:spPr>
        <p:txBody>
          <a:bodyPr/>
          <a:lstStyle/>
          <a:p>
            <a:r>
              <a:rPr lang="sv-SE" smtClean="0"/>
              <a:t>Klicka på ikonen för att lägga till ett diagram</a:t>
            </a:r>
            <a:endParaRPr lang="sv-SE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517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(2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9934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3075" cap="all" baseline="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828C520-761D-466F-978F-A4AC929A9275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211" y="261313"/>
            <a:ext cx="1372500" cy="41625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7096868" y="151938"/>
            <a:ext cx="2023533" cy="635000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Blå logga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593A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694661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73789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2457" y="756947"/>
            <a:ext cx="8318351" cy="8874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2457" y="2059818"/>
            <a:ext cx="8325643" cy="43074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 </a:t>
            </a: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bakgrundstexten</a:t>
            </a:r>
            <a:endParaRPr lang="en-GB" dirty="0" smtClean="0"/>
          </a:p>
          <a:p>
            <a:pPr lvl="1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vå</a:t>
            </a:r>
            <a:endParaRPr lang="en-GB" dirty="0" smtClean="0"/>
          </a:p>
          <a:p>
            <a:pPr lvl="2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re</a:t>
            </a:r>
            <a:endParaRPr lang="en-GB" dirty="0" smtClean="0"/>
          </a:p>
          <a:p>
            <a:pPr lvl="3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fyra</a:t>
            </a:r>
            <a:endParaRPr lang="en-GB" dirty="0" smtClean="0"/>
          </a:p>
          <a:p>
            <a:pPr lvl="4"/>
            <a:r>
              <a:rPr lang="en-GB" dirty="0" err="1" smtClean="0"/>
              <a:t>Nivå</a:t>
            </a:r>
            <a:r>
              <a:rPr lang="en-GB" dirty="0" smtClean="0"/>
              <a:t> fem</a:t>
            </a:r>
          </a:p>
          <a:p>
            <a:pPr lvl="5"/>
            <a:r>
              <a:rPr lang="en-GB" dirty="0" smtClean="0"/>
              <a:t>6</a:t>
            </a:r>
          </a:p>
          <a:p>
            <a:pPr lvl="6"/>
            <a:r>
              <a:rPr lang="en-GB" dirty="0" smtClean="0"/>
              <a:t>7</a:t>
            </a:r>
          </a:p>
          <a:p>
            <a:pPr lvl="7"/>
            <a:r>
              <a:rPr lang="en-GB" dirty="0" smtClean="0"/>
              <a:t>8</a:t>
            </a:r>
          </a:p>
          <a:p>
            <a:pPr lvl="8"/>
            <a:r>
              <a:rPr lang="en-GB" dirty="0" smtClean="0"/>
              <a:t>9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870826" y="6562725"/>
            <a:ext cx="2057400" cy="1079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tx1"/>
                </a:solidFill>
              </a:defRPr>
            </a:lvl1pPr>
          </a:lstStyle>
          <a:p>
            <a:fld id="{0389CD89-0243-462B-8542-D1CC1279D327}" type="datetime1">
              <a:rPr lang="sv-SE" smtClean="0"/>
              <a:pPr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870826" y="6391276"/>
            <a:ext cx="2057400" cy="15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tx1"/>
                </a:solidFill>
              </a:defRPr>
            </a:lvl1pPr>
          </a:lstStyle>
          <a:p>
            <a:fld id="{A3EAEDCA-98D4-4724-9772-C653855CA0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8" name="Bildobjekt 17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722" y="258434"/>
            <a:ext cx="1221525" cy="370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Blå logga"/>
          <p:cNvPicPr>
            <a:picLocks noChangeAspect="1" noChangeArrowheads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171" y="143029"/>
            <a:ext cx="1638929" cy="601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0202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0" r:id="rId2"/>
    <p:sldLayoutId id="2147483670" r:id="rId3"/>
    <p:sldLayoutId id="2147483671" r:id="rId4"/>
    <p:sldLayoutId id="2147483675" r:id="rId5"/>
    <p:sldLayoutId id="2147483672" r:id="rId6"/>
    <p:sldLayoutId id="2147483673" r:id="rId7"/>
    <p:sldLayoutId id="2147483674" r:id="rId8"/>
    <p:sldLayoutId id="2147483664" r:id="rId9"/>
    <p:sldLayoutId id="2147483685" r:id="rId10"/>
    <p:sldLayoutId id="2147483681" r:id="rId11"/>
    <p:sldLayoutId id="2147483665" r:id="rId12"/>
    <p:sldLayoutId id="2147483649" r:id="rId13"/>
    <p:sldLayoutId id="2147483666" r:id="rId14"/>
    <p:sldLayoutId id="2147483682" r:id="rId15"/>
    <p:sldLayoutId id="2147483668" r:id="rId16"/>
    <p:sldLayoutId id="2147483654" r:id="rId17"/>
    <p:sldLayoutId id="2147483655" r:id="rId18"/>
    <p:sldLayoutId id="2147483676" r:id="rId19"/>
    <p:sldLayoutId id="2147483679" r:id="rId20"/>
    <p:sldLayoutId id="2147483684" r:id="rId21"/>
    <p:sldLayoutId id="2147483678" r:id="rId22"/>
    <p:sldLayoutId id="2147483686" r:id="rId23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68580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86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972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134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1458000" indent="-162000" algn="l" defTabSz="685800" rtl="0" eaLnBrk="1" latinLnBrk="0" hangingPunct="1">
        <a:lnSpc>
          <a:spcPct val="100000"/>
        </a:lnSpc>
        <a:spcBef>
          <a:spcPts val="0"/>
        </a:spcBef>
        <a:buFont typeface="Arial" panose="00000500000000000000" pitchFamily="50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0" userDrawn="1">
          <p15:clr>
            <a:srgbClr val="F26B43"/>
          </p15:clr>
        </p15:guide>
        <p15:guide id="3" orient="horz" pos="1003" userDrawn="1">
          <p15:clr>
            <a:srgbClr val="F26B43"/>
          </p15:clr>
        </p15:guide>
        <p15:guide id="4" orient="horz" pos="1321" userDrawn="1">
          <p15:clr>
            <a:srgbClr val="F26B43"/>
          </p15:clr>
        </p15:guide>
        <p15:guide id="5" orient="horz" pos="4020" userDrawn="1">
          <p15:clr>
            <a:srgbClr val="F26B43"/>
          </p15:clr>
        </p15:guide>
        <p15:guide id="7" orient="horz" pos="396" userDrawn="1">
          <p15:clr>
            <a:srgbClr val="F26B43"/>
          </p15:clr>
        </p15:guide>
        <p15:guide id="9" pos="5054" userDrawn="1">
          <p15:clr>
            <a:srgbClr val="F26B43"/>
          </p15:clr>
        </p15:guide>
        <p15:guide id="10" orient="horz" pos="164" userDrawn="1">
          <p15:clr>
            <a:srgbClr val="F26B43"/>
          </p15:clr>
        </p15:guide>
        <p15:guide id="11" orient="horz" pos="4156" userDrawn="1">
          <p15:clr>
            <a:srgbClr val="F26B43"/>
          </p15:clr>
        </p15:guide>
        <p15:guide id="12" pos="5624" userDrawn="1">
          <p15:clr>
            <a:srgbClr val="F26B43"/>
          </p15:clr>
        </p15:guide>
        <p15:guide id="13" orient="horz" pos="42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87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6.emf"/><Relationship Id="rId3" Type="http://schemas.openxmlformats.org/officeDocument/2006/relationships/tags" Target="../tags/tag8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oleObject" Target="../embeddings/oleObject6.bin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1.emf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image" Target="../media/image6.emf"/><Relationship Id="rId3" Type="http://schemas.openxmlformats.org/officeDocument/2006/relationships/tags" Target="../tags/tag27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oleObject" Target="../embeddings/oleObject8.bin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image" Target="../media/image1.emf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notesSlide" Target="../notesSlides/notesSlide3.xml"/><Relationship Id="rId27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oleObject" Target="../embeddings/oleObject11.bin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notesSlide" Target="../notesSlides/notesSlide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slideLayout" Target="../slideLayouts/slideLayout4.xml"/><Relationship Id="rId38" Type="http://schemas.openxmlformats.org/officeDocument/2006/relationships/image" Target="../media/image6.emf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chart" Target="../charts/chart2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oleObject" Target="../embeddings/oleObject10.bin"/><Relationship Id="rId40" Type="http://schemas.openxmlformats.org/officeDocument/2006/relationships/image" Target="../media/image7.emf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image" Target="../media/image1.emf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7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9.v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6634922" cy="2387600"/>
          </a:xfrm>
        </p:spPr>
        <p:txBody>
          <a:bodyPr>
            <a:normAutofit/>
          </a:bodyPr>
          <a:lstStyle/>
          <a:p>
            <a:r>
              <a:rPr lang="sv-SE" dirty="0" smtClean="0"/>
              <a:t>Elmarknaden vid ett vägskäl </a:t>
            </a:r>
            <a:br>
              <a:rPr lang="sv-SE" dirty="0" smtClean="0"/>
            </a:br>
            <a:r>
              <a:rPr lang="sv-SE" dirty="0" smtClean="0"/>
              <a:t>- mer politik eller mer marknad?</a:t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sz="1800" dirty="0" smtClean="0"/>
              <a:t>Niclas Damsgaard, Sweco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BED36C-5960-48EB-A283-4AF38C7BA0A5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238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 algn="l"/>
            <a:r>
              <a:rPr lang="sv-SE" dirty="0" smtClean="0"/>
              <a:t>Men är det bara subventionerna som är problemet?</a:t>
            </a:r>
            <a:br>
              <a:rPr lang="sv-SE" dirty="0" smtClean="0"/>
            </a:br>
            <a:r>
              <a:rPr lang="sv-SE" dirty="0" smtClean="0"/>
              <a:t>Energy-</a:t>
            </a:r>
            <a:r>
              <a:rPr lang="sv-SE" dirty="0" err="1" smtClean="0"/>
              <a:t>only</a:t>
            </a:r>
            <a:r>
              <a:rPr lang="sv-SE" dirty="0" smtClean="0"/>
              <a:t> </a:t>
            </a:r>
            <a:r>
              <a:rPr lang="sv-SE" dirty="0"/>
              <a:t>marknaden </a:t>
            </a:r>
            <a:r>
              <a:rPr lang="sv-SE" dirty="0" smtClean="0"/>
              <a:t>har svårt </a:t>
            </a:r>
            <a:r>
              <a:rPr lang="sv-SE" dirty="0"/>
              <a:t>att leverera nödvändiga investeringar i ny </a:t>
            </a:r>
            <a:r>
              <a:rPr lang="sv-SE" dirty="0" smtClean="0"/>
              <a:t>produktion (?)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2457" y="1878181"/>
            <a:ext cx="3933447" cy="42479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800" dirty="0" smtClean="0"/>
              <a:t>Flexibel produktion kan komma att behöva täcka sina kostnader under ett </a:t>
            </a:r>
            <a:r>
              <a:rPr lang="sv-SE" sz="1800" dirty="0" smtClean="0"/>
              <a:t>fåtal </a:t>
            </a:r>
            <a:r>
              <a:rPr lang="sv-SE" sz="1800" dirty="0" smtClean="0"/>
              <a:t>timmar</a:t>
            </a:r>
          </a:p>
          <a:p>
            <a:r>
              <a:rPr lang="sv-SE" sz="1800" dirty="0" smtClean="0"/>
              <a:t>Kan innebära en (alltför) hög risk för en investerare </a:t>
            </a:r>
          </a:p>
          <a:p>
            <a:r>
              <a:rPr lang="sv-SE" sz="1800" dirty="0" smtClean="0"/>
              <a:t>Oro för interventioner för att motverka höga priser  </a:t>
            </a:r>
          </a:p>
          <a:p>
            <a:pPr marL="0" indent="0">
              <a:buNone/>
            </a:pPr>
            <a:endParaRPr lang="sv-SE" sz="2000" dirty="0" smtClean="0"/>
          </a:p>
          <a:p>
            <a:pPr marL="0" indent="0">
              <a:buNone/>
            </a:pPr>
            <a:r>
              <a:rPr lang="sv-SE" sz="2000" dirty="0" smtClean="0"/>
              <a:t>Kapacitetsmekanismer lyfts fram som en lösning</a:t>
            </a:r>
          </a:p>
          <a:p>
            <a:r>
              <a:rPr lang="sv-SE" sz="1800" dirty="0" smtClean="0"/>
              <a:t>Ökad efterfrågeflexibilitet lyfts fram som en möjlig lösning på problemet</a:t>
            </a:r>
            <a:endParaRPr lang="sv-SE" sz="1800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CDCEE-9FA8-4ACB-ADB8-903AA2FBA300}" type="slidenum">
              <a:rPr lang="sv-SE" smtClean="0"/>
              <a:pPr/>
              <a:t>10</a:t>
            </a:fld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1546" y="2358189"/>
            <a:ext cx="3441033" cy="2444500"/>
          </a:xfrm>
          <a:prstGeom prst="rect">
            <a:avLst/>
          </a:prstGeom>
        </p:spPr>
      </p:pic>
      <p:sp>
        <p:nvSpPr>
          <p:cNvPr id="7" name="textruta 6"/>
          <p:cNvSpPr txBox="1"/>
          <p:nvPr/>
        </p:nvSpPr>
        <p:spPr>
          <a:xfrm>
            <a:off x="5161546" y="1657646"/>
            <a:ext cx="3644101" cy="523220"/>
          </a:xfrm>
          <a:prstGeom prst="rect">
            <a:avLst/>
          </a:prstGeom>
          <a:solidFill>
            <a:srgbClr val="8593AF"/>
          </a:solidFill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chemeClr val="bg1"/>
                </a:solidFill>
              </a:rPr>
              <a:t>Kumulativ andel av nettointäkten för en CCGT i Tyskland 2030 i två scenarier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441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671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31A02F-E358-4200-9537-986185DE2E6E}" type="datetime1">
              <a:rPr lang="sv-SE" smtClean="0"/>
              <a:t>2016-02-04</a:t>
            </a:fld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CDCEE-9FA8-4ACB-ADB8-903AA2FBA300}" type="slidenum">
              <a:rPr lang="sv-SE" smtClean="0"/>
              <a:pPr/>
              <a:t>11</a:t>
            </a:fld>
            <a:endParaRPr lang="sv-SE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1698" y="343342"/>
            <a:ext cx="8318351" cy="887413"/>
          </a:xfrm>
        </p:spPr>
        <p:txBody>
          <a:bodyPr/>
          <a:lstStyle/>
          <a:p>
            <a:r>
              <a:rPr lang="sv-SE" dirty="0" smtClean="0"/>
              <a:t>Många alternativa lösningar</a:t>
            </a:r>
            <a:br>
              <a:rPr lang="sv-SE" dirty="0" smtClean="0"/>
            </a:br>
            <a:r>
              <a:rPr lang="sv-SE" dirty="0" smtClean="0"/>
              <a:t> – vart kommer Europa att gå?</a:t>
            </a:r>
            <a:endParaRPr lang="sv-SE" dirty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697832" y="5269832"/>
            <a:ext cx="7928811" cy="0"/>
          </a:xfrm>
          <a:prstGeom prst="straightConnector1">
            <a:avLst/>
          </a:prstGeom>
          <a:ln w="98425">
            <a:solidFill>
              <a:srgbClr val="8593A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85011" y="5546947"/>
            <a:ext cx="995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arknad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7402818" y="5546947"/>
            <a:ext cx="1741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Reglering/</a:t>
            </a:r>
            <a:br>
              <a:rPr lang="sv-SE" dirty="0" smtClean="0"/>
            </a:br>
            <a:r>
              <a:rPr lang="sv-SE" dirty="0" smtClean="0"/>
              <a:t>centralplanering</a:t>
            </a:r>
            <a:endParaRPr lang="sv-SE" dirty="0"/>
          </a:p>
        </p:txBody>
      </p:sp>
      <p:sp>
        <p:nvSpPr>
          <p:cNvPr id="14" name="Oval 13"/>
          <p:cNvSpPr/>
          <p:nvPr/>
        </p:nvSpPr>
        <p:spPr>
          <a:xfrm>
            <a:off x="6271056" y="3782096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Reglerade monopol</a:t>
            </a:r>
            <a:endParaRPr lang="sv-SE" dirty="0"/>
          </a:p>
        </p:txBody>
      </p:sp>
      <p:sp>
        <p:nvSpPr>
          <p:cNvPr id="17" name="Oval 16"/>
          <p:cNvSpPr/>
          <p:nvPr/>
        </p:nvSpPr>
        <p:spPr>
          <a:xfrm>
            <a:off x="882903" y="3782096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”Energy-</a:t>
            </a:r>
            <a:r>
              <a:rPr lang="sv-SE" dirty="0" err="1" smtClean="0"/>
              <a:t>only</a:t>
            </a:r>
            <a:r>
              <a:rPr lang="sv-SE" dirty="0" smtClean="0"/>
              <a:t>”</a:t>
            </a:r>
            <a:endParaRPr lang="sv-SE" dirty="0"/>
          </a:p>
        </p:txBody>
      </p:sp>
      <p:sp>
        <p:nvSpPr>
          <p:cNvPr id="20" name="TextBox 19"/>
          <p:cNvSpPr txBox="1"/>
          <p:nvPr/>
        </p:nvSpPr>
        <p:spPr>
          <a:xfrm>
            <a:off x="6083948" y="3151155"/>
            <a:ext cx="13949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 smtClean="0"/>
              <a:t>Låg(?) risk för </a:t>
            </a:r>
            <a:br>
              <a:rPr lang="sv-SE" sz="1600" dirty="0" smtClean="0"/>
            </a:br>
            <a:r>
              <a:rPr lang="sv-SE" sz="1600" dirty="0" smtClean="0"/>
              <a:t>producenter</a:t>
            </a:r>
            <a:endParaRPr lang="sv-SE" sz="1600" dirty="0"/>
          </a:p>
        </p:txBody>
      </p:sp>
      <p:sp>
        <p:nvSpPr>
          <p:cNvPr id="21" name="TextBox 20"/>
          <p:cNvSpPr txBox="1"/>
          <p:nvPr/>
        </p:nvSpPr>
        <p:spPr>
          <a:xfrm>
            <a:off x="7594925" y="2764657"/>
            <a:ext cx="13569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smtClean="0"/>
              <a:t>Risk för </a:t>
            </a:r>
            <a:r>
              <a:rPr lang="sv-SE" sz="1600" dirty="0" err="1" smtClean="0"/>
              <a:t>över-investeringar</a:t>
            </a:r>
            <a:r>
              <a:rPr lang="sv-SE" sz="1600" dirty="0" smtClean="0"/>
              <a:t> och låg effektivitet</a:t>
            </a:r>
            <a:endParaRPr lang="sv-SE" sz="1600" dirty="0"/>
          </a:p>
        </p:txBody>
      </p:sp>
      <p:sp>
        <p:nvSpPr>
          <p:cNvPr id="22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38800" y="3179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dirty="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4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15925" y="3179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dirty="0" smtClean="0">
                <a:solidFill>
                  <a:srgbClr val="C30C3E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</a:t>
            </a:r>
            <a:endParaRPr lang="en-GB" sz="5200" dirty="0">
              <a:solidFill>
                <a:srgbClr val="C30C3E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919163" y="3179763"/>
            <a:ext cx="14927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 smtClean="0"/>
              <a:t>Hög(re) risk för </a:t>
            </a:r>
            <a:br>
              <a:rPr lang="sv-SE" sz="1600" dirty="0" smtClean="0"/>
            </a:br>
            <a:r>
              <a:rPr lang="sv-SE" sz="1600" dirty="0" smtClean="0"/>
              <a:t>producenter</a:t>
            </a:r>
            <a:endParaRPr lang="sv-SE" sz="1600" dirty="0"/>
          </a:p>
        </p:txBody>
      </p:sp>
      <p:sp>
        <p:nvSpPr>
          <p:cNvPr id="26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11425" y="32178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dirty="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975002" y="3234535"/>
            <a:ext cx="1356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smtClean="0"/>
              <a:t>Effektiv marknad</a:t>
            </a:r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032207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31A02F-E358-4200-9537-986185DE2E6E}" type="datetime1">
              <a:rPr lang="sv-SE" smtClean="0"/>
              <a:t>2016-02-04</a:t>
            </a:fld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CDCEE-9FA8-4ACB-ADB8-903AA2FBA300}" type="slidenum">
              <a:rPr lang="sv-SE" smtClean="0"/>
              <a:pPr/>
              <a:t>12</a:t>
            </a:fld>
            <a:endParaRPr lang="sv-SE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697832" y="5269832"/>
            <a:ext cx="7928811" cy="0"/>
          </a:xfrm>
          <a:prstGeom prst="straightConnector1">
            <a:avLst/>
          </a:prstGeom>
          <a:ln w="98425">
            <a:solidFill>
              <a:srgbClr val="8593A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85011" y="5546947"/>
            <a:ext cx="995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arknad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7402818" y="5546947"/>
            <a:ext cx="1741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Reglering/</a:t>
            </a:r>
            <a:br>
              <a:rPr lang="sv-SE" dirty="0" smtClean="0"/>
            </a:br>
            <a:r>
              <a:rPr lang="sv-SE" dirty="0" smtClean="0"/>
              <a:t>centralplanering</a:t>
            </a:r>
            <a:endParaRPr lang="sv-SE" dirty="0"/>
          </a:p>
        </p:txBody>
      </p:sp>
      <p:sp>
        <p:nvSpPr>
          <p:cNvPr id="14" name="Oval 13"/>
          <p:cNvSpPr/>
          <p:nvPr/>
        </p:nvSpPr>
        <p:spPr>
          <a:xfrm>
            <a:off x="6271056" y="3782096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Reglerade monopol</a:t>
            </a:r>
            <a:endParaRPr lang="sv-SE" dirty="0"/>
          </a:p>
        </p:txBody>
      </p:sp>
      <p:sp>
        <p:nvSpPr>
          <p:cNvPr id="15" name="Oval 14"/>
          <p:cNvSpPr/>
          <p:nvPr/>
        </p:nvSpPr>
        <p:spPr>
          <a:xfrm>
            <a:off x="4960724" y="2765803"/>
            <a:ext cx="2503363" cy="1428342"/>
          </a:xfrm>
          <a:prstGeom prst="ellipse">
            <a:avLst/>
          </a:prstGeom>
          <a:solidFill>
            <a:srgbClr val="8593A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UK:</a:t>
            </a:r>
          </a:p>
          <a:p>
            <a:pPr marL="84138" indent="-84138" defTabSz="1431925">
              <a:buFont typeface="Arial" panose="020B0604020202020204" pitchFamily="34" charset="0"/>
              <a:buChar char="•"/>
            </a:pPr>
            <a:r>
              <a:rPr lang="sv-SE" sz="1200" dirty="0" smtClean="0"/>
              <a:t>Långa kontrakt för förnybart och kärnkraft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sv-SE" sz="1200" dirty="0" smtClean="0"/>
              <a:t>Kapacitetsmarknad</a:t>
            </a:r>
            <a:endParaRPr lang="sv-SE" sz="1200" dirty="0"/>
          </a:p>
        </p:txBody>
      </p:sp>
      <p:sp>
        <p:nvSpPr>
          <p:cNvPr id="16" name="Oval 15"/>
          <p:cNvSpPr/>
          <p:nvPr/>
        </p:nvSpPr>
        <p:spPr>
          <a:xfrm>
            <a:off x="3709042" y="3795324"/>
            <a:ext cx="2503363" cy="1428342"/>
          </a:xfrm>
          <a:prstGeom prst="ellipse">
            <a:avLst/>
          </a:prstGeom>
          <a:solidFill>
            <a:srgbClr val="8593A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Frankrike</a:t>
            </a:r>
            <a:endParaRPr lang="sv-SE" sz="1600" dirty="0" smtClean="0"/>
          </a:p>
          <a:p>
            <a:pPr marL="84138" indent="-84138" defTabSz="1431925">
              <a:buFont typeface="Arial" panose="020B0604020202020204" pitchFamily="34" charset="0"/>
              <a:buChar char="•"/>
            </a:pPr>
            <a:r>
              <a:rPr lang="sv-SE" sz="1200" dirty="0" smtClean="0"/>
              <a:t>Kapacitetsmarknad</a:t>
            </a:r>
          </a:p>
          <a:p>
            <a:pPr marL="84138" indent="-84138" defTabSz="1431925">
              <a:buFont typeface="Arial" panose="020B0604020202020204" pitchFamily="34" charset="0"/>
              <a:buChar char="•"/>
            </a:pPr>
            <a:r>
              <a:rPr lang="sv-SE" sz="1200" dirty="0" smtClean="0"/>
              <a:t>Reglerade priser kärnkraft</a:t>
            </a:r>
          </a:p>
          <a:p>
            <a:pPr marL="84138" indent="-84138">
              <a:buFont typeface="Arial" panose="020B0604020202020204" pitchFamily="34" charset="0"/>
              <a:buChar char="•"/>
            </a:pPr>
            <a:r>
              <a:rPr lang="sv-SE" sz="1200" dirty="0" smtClean="0"/>
              <a:t>Upphan</a:t>
            </a:r>
            <a:r>
              <a:rPr lang="sv-SE" sz="1200" dirty="0" smtClean="0"/>
              <a:t>dling CCGT</a:t>
            </a:r>
            <a:endParaRPr lang="sv-SE" sz="1200" dirty="0"/>
          </a:p>
        </p:txBody>
      </p:sp>
      <p:sp>
        <p:nvSpPr>
          <p:cNvPr id="17" name="Oval 16"/>
          <p:cNvSpPr/>
          <p:nvPr/>
        </p:nvSpPr>
        <p:spPr>
          <a:xfrm>
            <a:off x="882903" y="3782096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”Energy-</a:t>
            </a:r>
            <a:r>
              <a:rPr lang="sv-SE" dirty="0" err="1" smtClean="0"/>
              <a:t>only</a:t>
            </a:r>
            <a:r>
              <a:rPr lang="sv-SE" dirty="0" smtClean="0"/>
              <a:t>”</a:t>
            </a:r>
            <a:endParaRPr lang="sv-SE" dirty="0"/>
          </a:p>
        </p:txBody>
      </p:sp>
      <p:sp>
        <p:nvSpPr>
          <p:cNvPr id="18" name="Oval 17"/>
          <p:cNvSpPr/>
          <p:nvPr/>
        </p:nvSpPr>
        <p:spPr>
          <a:xfrm>
            <a:off x="1464182" y="2816777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Strategisk reserv</a:t>
            </a:r>
            <a:endParaRPr lang="sv-SE" dirty="0"/>
          </a:p>
        </p:txBody>
      </p:sp>
      <p:sp>
        <p:nvSpPr>
          <p:cNvPr id="19" name="Oval 18"/>
          <p:cNvSpPr/>
          <p:nvPr/>
        </p:nvSpPr>
        <p:spPr>
          <a:xfrm>
            <a:off x="2034659" y="1767227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 smtClean="0"/>
              <a:t>Nya ”marknader” för systemtjänster</a:t>
            </a:r>
            <a:endParaRPr lang="sv-SE" sz="1400" dirty="0"/>
          </a:p>
        </p:txBody>
      </p:sp>
      <p:sp>
        <p:nvSpPr>
          <p:cNvPr id="20" name="Title 7"/>
          <p:cNvSpPr txBox="1">
            <a:spLocks/>
          </p:cNvSpPr>
          <p:nvPr/>
        </p:nvSpPr>
        <p:spPr>
          <a:xfrm>
            <a:off x="581698" y="343342"/>
            <a:ext cx="8318351" cy="8874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mtClean="0"/>
              <a:t>Många alternativa lösningar</a:t>
            </a:r>
            <a:br>
              <a:rPr lang="sv-SE" smtClean="0"/>
            </a:br>
            <a:r>
              <a:rPr lang="sv-SE" smtClean="0"/>
              <a:t> – vart kommer Europa att gå?</a:t>
            </a:r>
            <a:endParaRPr lang="sv-SE" dirty="0"/>
          </a:p>
        </p:txBody>
      </p:sp>
      <p:sp>
        <p:nvSpPr>
          <p:cNvPr id="21" name="Oval 20"/>
          <p:cNvSpPr/>
          <p:nvPr/>
        </p:nvSpPr>
        <p:spPr>
          <a:xfrm>
            <a:off x="106749" y="1265249"/>
            <a:ext cx="2355588" cy="1395404"/>
          </a:xfrm>
          <a:prstGeom prst="ellipse">
            <a:avLst/>
          </a:prstGeom>
          <a:solidFill>
            <a:srgbClr val="8593A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 smtClean="0"/>
              <a:t>Individualiserad leveranssäkerhet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1662720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9" grpId="0" animBg="1"/>
      <p:bldP spid="2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681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01054" y="1688764"/>
            <a:ext cx="2399799" cy="452855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Marknad</a:t>
            </a:r>
            <a:br>
              <a:rPr lang="sv-SE" dirty="0" smtClean="0"/>
            </a:br>
            <a:endParaRPr lang="sv-S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FD871E-C556-437D-89D2-3C5571736C96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t>13</a:t>
            </a:fld>
            <a:endParaRPr lang="en-GB" dirty="0"/>
          </a:p>
        </p:txBody>
      </p:sp>
      <p:sp>
        <p:nvSpPr>
          <p:cNvPr id="6" name="Bent Arrow 5"/>
          <p:cNvSpPr/>
          <p:nvPr/>
        </p:nvSpPr>
        <p:spPr>
          <a:xfrm>
            <a:off x="4446337" y="2562727"/>
            <a:ext cx="2647742" cy="3285396"/>
          </a:xfrm>
          <a:prstGeom prst="bentArrow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Bent Arrow 7"/>
          <p:cNvSpPr/>
          <p:nvPr/>
        </p:nvSpPr>
        <p:spPr>
          <a:xfrm flipH="1">
            <a:off x="2384927" y="2562727"/>
            <a:ext cx="2647742" cy="3285396"/>
          </a:xfrm>
          <a:prstGeom prst="bentArrow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Title 3"/>
          <p:cNvSpPr txBox="1">
            <a:spLocks/>
          </p:cNvSpPr>
          <p:nvPr/>
        </p:nvSpPr>
        <p:spPr>
          <a:xfrm>
            <a:off x="6699626" y="1688765"/>
            <a:ext cx="2399799" cy="45285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75" kern="1200" cap="all" baseline="0">
                <a:solidFill>
                  <a:srgbClr val="8593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 err="1" smtClean="0"/>
              <a:t>Reglering</a:t>
            </a:r>
            <a:r>
              <a:rPr lang="en-GB" sz="2800" dirty="0" smtClean="0"/>
              <a:t/>
            </a:r>
            <a:br>
              <a:rPr lang="en-GB" sz="2800" dirty="0" smtClean="0"/>
            </a:br>
            <a:endParaRPr lang="en-GB" sz="2800" dirty="0"/>
          </a:p>
        </p:txBody>
      </p:sp>
      <p:sp>
        <p:nvSpPr>
          <p:cNvPr id="11" name="TextBox 10"/>
          <p:cNvSpPr txBox="1"/>
          <p:nvPr/>
        </p:nvSpPr>
        <p:spPr>
          <a:xfrm>
            <a:off x="316833" y="2014619"/>
            <a:ext cx="198387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Avskaffande av subventioner till förnyb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Acceptans för volatila pri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Europeisk syn på leverans-säkerh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Aktiva ku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Konkurr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Effektivitet</a:t>
            </a:r>
            <a:endParaRPr lang="sv-SE" dirty="0">
              <a:solidFill>
                <a:srgbClr val="8593A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44353" y="2088269"/>
            <a:ext cx="19838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Centraliserad plan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Reglerade priser</a:t>
            </a:r>
            <a:endParaRPr lang="sv-SE" dirty="0">
              <a:solidFill>
                <a:srgbClr val="8593AF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Mindre volatila pri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smtClean="0">
                <a:solidFill>
                  <a:srgbClr val="8593AF"/>
                </a:solidFill>
              </a:rPr>
              <a:t>Minskad effektivitet</a:t>
            </a:r>
            <a:endParaRPr lang="sv-SE" dirty="0">
              <a:solidFill>
                <a:srgbClr val="8593AF"/>
              </a:solidFill>
            </a:endParaRPr>
          </a:p>
        </p:txBody>
      </p:sp>
      <p:sp>
        <p:nvSpPr>
          <p:cNvPr id="14" name="Up Arrow 13"/>
          <p:cNvSpPr/>
          <p:nvPr/>
        </p:nvSpPr>
        <p:spPr>
          <a:xfrm>
            <a:off x="4030579" y="1443789"/>
            <a:ext cx="1419726" cy="4404334"/>
          </a:xfrm>
          <a:prstGeom prst="up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3"/>
          <p:cNvSpPr txBox="1">
            <a:spLocks/>
          </p:cNvSpPr>
          <p:nvPr/>
        </p:nvSpPr>
        <p:spPr>
          <a:xfrm>
            <a:off x="3350127" y="983845"/>
            <a:ext cx="3133390" cy="452855"/>
          </a:xfrm>
          <a:prstGeom prst="rect">
            <a:avLst/>
          </a:prstGeom>
          <a:solidFill>
            <a:schemeClr val="tx1"/>
          </a:solidFill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75" kern="1200" cap="all" baseline="0">
                <a:solidFill>
                  <a:srgbClr val="8593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 smtClean="0"/>
              <a:t>Dagens situation</a:t>
            </a:r>
            <a:br>
              <a:rPr lang="sv-SE" sz="2800" dirty="0" smtClean="0"/>
            </a:br>
            <a:endParaRPr lang="sv-SE" sz="2800" dirty="0"/>
          </a:p>
        </p:txBody>
      </p:sp>
      <p:sp>
        <p:nvSpPr>
          <p:cNvPr id="16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176713" y="1819275"/>
            <a:ext cx="1155700" cy="11557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133" dirty="0" smtClean="0">
                <a:solidFill>
                  <a:srgbClr val="C30C3E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</a:t>
            </a:r>
            <a:endParaRPr lang="en-GB" sz="10133" dirty="0">
              <a:solidFill>
                <a:srgbClr val="C30C3E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8" name="TextBox 17"/>
          <p:cNvSpPr txBox="1"/>
          <p:nvPr/>
        </p:nvSpPr>
        <p:spPr>
          <a:xfrm rot="19909778">
            <a:off x="423087" y="4975778"/>
            <a:ext cx="2949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rgbClr val="A48730"/>
                </a:solidFill>
              </a:rPr>
              <a:t>Men också behov av kompletterande mekanismer</a:t>
            </a:r>
          </a:p>
        </p:txBody>
      </p:sp>
    </p:spTree>
    <p:extLst>
      <p:ext uri="{BB962C8B-B14F-4D97-AF65-F5344CB8AC3E}">
        <p14:creationId xmlns:p14="http://schemas.microsoft.com/office/powerpoint/2010/main" val="80851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80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1000"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Isosceles Triangle 135"/>
          <p:cNvSpPr/>
          <p:nvPr/>
        </p:nvSpPr>
        <p:spPr>
          <a:xfrm rot="10800000">
            <a:off x="654049" y="1803003"/>
            <a:ext cx="7617883" cy="8990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2" name="Rectangle 141"/>
          <p:cNvSpPr/>
          <p:nvPr/>
        </p:nvSpPr>
        <p:spPr>
          <a:xfrm>
            <a:off x="733538" y="1045433"/>
            <a:ext cx="7456305" cy="773058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875" y="22315"/>
            <a:ext cx="8318351" cy="887413"/>
          </a:xfrm>
        </p:spPr>
        <p:txBody>
          <a:bodyPr/>
          <a:lstStyle/>
          <a:p>
            <a:r>
              <a:rPr lang="sv-SE" dirty="0" smtClean="0"/>
              <a:t>Drivkrafter för en ny marknadsdesign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A5A9E-4DB9-4B6B-900B-18E99F5EA25A}" type="datetime1">
              <a:rPr lang="en-GB" smtClean="0"/>
              <a:t>04/02/2016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B4646-3925-4A29-A86E-CE8796BC6684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37" name="TextBox 136"/>
          <p:cNvSpPr txBox="1"/>
          <p:nvPr/>
        </p:nvSpPr>
        <p:spPr>
          <a:xfrm>
            <a:off x="3796644" y="1847776"/>
            <a:ext cx="1430200" cy="36933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sv-SE" dirty="0" smtClean="0"/>
              <a:t>Subventioner till förnybart</a:t>
            </a:r>
            <a:endParaRPr lang="sv-SE" dirty="0"/>
          </a:p>
        </p:txBody>
      </p:sp>
      <p:sp>
        <p:nvSpPr>
          <p:cNvPr id="140" name="Isosceles Triangle 139"/>
          <p:cNvSpPr/>
          <p:nvPr/>
        </p:nvSpPr>
        <p:spPr>
          <a:xfrm rot="10800000">
            <a:off x="654050" y="1028303"/>
            <a:ext cx="7703654" cy="7273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1" name="TextBox 140"/>
          <p:cNvSpPr txBox="1"/>
          <p:nvPr/>
        </p:nvSpPr>
        <p:spPr>
          <a:xfrm>
            <a:off x="2978358" y="1045433"/>
            <a:ext cx="3337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Politiska mål – klimat &amp; förnybart</a:t>
            </a:r>
            <a:endParaRPr lang="sv-S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5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562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Isosceles Triangle 135"/>
          <p:cNvSpPr/>
          <p:nvPr/>
        </p:nvSpPr>
        <p:spPr>
          <a:xfrm rot="10800000">
            <a:off x="654049" y="1803003"/>
            <a:ext cx="7617883" cy="8990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2" name="Rectangle 141"/>
          <p:cNvSpPr/>
          <p:nvPr/>
        </p:nvSpPr>
        <p:spPr>
          <a:xfrm>
            <a:off x="733538" y="1045433"/>
            <a:ext cx="7456305" cy="773058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875" y="22315"/>
            <a:ext cx="8318351" cy="887413"/>
          </a:xfrm>
        </p:spPr>
        <p:txBody>
          <a:bodyPr/>
          <a:lstStyle/>
          <a:p>
            <a:r>
              <a:rPr lang="sv-SE" dirty="0" smtClean="0"/>
              <a:t>Drivkrafter för en ny marknadsdesign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A5A9E-4DB9-4B6B-900B-18E99F5EA25A}" type="datetime1">
              <a:rPr lang="en-GB" smtClean="0"/>
              <a:t>04/02/2016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B4646-3925-4A29-A86E-CE8796BC6684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23" name="Object 2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81000" y="3238500"/>
          <a:ext cx="2581175" cy="2495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Chart" r:id="rId25" imgW="2581175" imgH="2495536" progId="MSGraph.Chart.8">
                  <p:embed followColorScheme="full"/>
                </p:oleObj>
              </mc:Choice>
              <mc:Fallback>
                <p:oleObj name="Chart" r:id="rId25" imgW="2581175" imgH="24955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81000" y="3238500"/>
                        <a:ext cx="2581175" cy="2495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0" name="Straight Connector 149"/>
          <p:cNvCxnSpPr/>
          <p:nvPr>
            <p:custDataLst>
              <p:tags r:id="rId5"/>
            </p:custDataLst>
          </p:nvPr>
        </p:nvCxnSpPr>
        <p:spPr bwMode="auto">
          <a:xfrm flipV="1">
            <a:off x="876300" y="3476625"/>
            <a:ext cx="0" cy="11430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6"/>
            </p:custDataLst>
          </p:nvPr>
        </p:nvCxnSpPr>
        <p:spPr bwMode="auto">
          <a:xfrm>
            <a:off x="2371725" y="34766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>
            <p:custDataLst>
              <p:tags r:id="rId7"/>
            </p:custDataLst>
          </p:nvPr>
        </p:nvCxnSpPr>
        <p:spPr bwMode="auto">
          <a:xfrm>
            <a:off x="876300" y="3476625"/>
            <a:ext cx="14954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6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028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D6EB3DE-EBFD-45F6-8726-A285F95CA7D5}" type="datetime'''''''''''2''''''''''''''''''0''''''''''''''1''''''''0'">
              <a:rPr lang="en-US" sz="1000"/>
              <a:pPr/>
              <a:t>2010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8" name="Text Placeholder 36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0325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CC68378-E8A0-45C3-85E2-23E64BF4C4C1}" type="datetime'''''''20''''''''''''''''''''''''''''''''''1''''''''''''1'''">
              <a:rPr lang="en-US" sz="1000"/>
              <a:pPr/>
              <a:t>2011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4" name="Text Placeholder 37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3040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AC7477-D7E8-4F8B-9AE7-DE799DE1DF90}" type="datetime'''''''''''''2''''0''''1''3'''''''''''''''''''''''''''''">
              <a:rPr lang="en-US" sz="1000"/>
              <a:pPr/>
              <a:t>2013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Text Placeholder 36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025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448E78C-DC79-4037-A00A-66D39140BB77}" type="datetime'''''''''''2''0''''0''''9'''''''">
              <a:rPr lang="en-US" sz="1000"/>
              <a:pPr/>
              <a:t>2009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5" name="Text Placeholder 37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30363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207AAC-D71C-421D-829B-60A5385DF139}" type="datetime'''''''''''''''''''2''''''''01''''''''''''''''''''2'''">
              <a:rPr lang="en-US" sz="1000"/>
              <a:pPr/>
              <a:t>2012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45" name="Text Placeholder 46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234950" y="3843338"/>
            <a:ext cx="152400" cy="129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err="1" smtClean="0">
                <a:latin typeface="+mn-lt"/>
                <a:cs typeface="Arial"/>
                <a:sym typeface="+mn-lt"/>
              </a:rPr>
              <a:t>Installerad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 </a:t>
            </a:r>
            <a:r>
              <a:rPr lang="en-US" sz="1000" dirty="0" err="1" smtClean="0">
                <a:latin typeface="+mn-lt"/>
                <a:cs typeface="Arial"/>
                <a:sym typeface="+mn-lt"/>
              </a:rPr>
              <a:t>kapacitet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, GW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46" name="Text Placeholder 46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27350" y="4064000"/>
            <a:ext cx="152400" cy="85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sv-SE" sz="1000" dirty="0" smtClean="0">
                <a:latin typeface="+mn-lt"/>
                <a:cs typeface="Arial"/>
                <a:sym typeface="+mn-lt"/>
              </a:rPr>
              <a:t>Produktion, TWh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3043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6E5737-C6EB-4362-A146-F29208FBC6B1}" type="datetime'''''''''''''2''''''01''4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GB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4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54138" y="3379788"/>
            <a:ext cx="541338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2B892B7-C5B6-41C8-909C-47A2340578EF}" type="datetime'+24''''''''''''3''''''''''''''''%'''''">
              <a:rPr lang="en-US" sz="1000" b="1">
                <a:cs typeface="Arial" panose="020B0604020202020204" pitchFamily="34" charset="0"/>
              </a:rPr>
              <a:pPr/>
              <a:t>+243%</a:t>
            </a:fld>
            <a:endParaRPr lang="en-GB" sz="1000" b="1" dirty="0"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17"/>
            </p:custDataLst>
          </p:nvPr>
        </p:nvCxnSpPr>
        <p:spPr bwMode="gray">
          <a:xfrm>
            <a:off x="530225" y="5878513"/>
            <a:ext cx="328612" cy="0"/>
          </a:xfrm>
          <a:prstGeom prst="line">
            <a:avLst/>
          </a:prstGeom>
          <a:ln w="28575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18"/>
            </p:custDataLst>
          </p:nvPr>
        </p:nvSpPr>
        <p:spPr bwMode="auto">
          <a:xfrm>
            <a:off x="1685925" y="5826125"/>
            <a:ext cx="142875" cy="106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Text Placeholder 37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79600" y="5822950"/>
            <a:ext cx="9096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6571E1-BF6D-44A1-83A7-34177876D957}" type="datetime'In''stal''le''''r''a''d'' ''k''''''''''''''''apa''''''cit''et'">
              <a:rPr lang="en-US" sz="800"/>
              <a:pPr/>
              <a:t>Installerad kapacitet</a:t>
            </a:fld>
            <a:endParaRPr lang="sv-SE" sz="800" dirty="0">
              <a:latin typeface="Arial"/>
              <a:cs typeface="Arial"/>
              <a:sym typeface="Arial"/>
            </a:endParaRPr>
          </a:p>
        </p:txBody>
      </p:sp>
      <p:sp>
        <p:nvSpPr>
          <p:cNvPr id="33" name="Text Placeholder 37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9638" y="5822950"/>
            <a:ext cx="4889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A22FE9-B444-4287-A45C-20A8448C9843}" type="datetime'''''''P''''''''ro''''d''''ukti''on'''''''''''''''''''''">
              <a:rPr lang="en-US" sz="800"/>
              <a:pPr/>
              <a:t>Produktion</a:t>
            </a:fld>
            <a:endParaRPr lang="sv-SE" sz="800" dirty="0">
              <a:latin typeface="+mn-lt"/>
              <a:cs typeface="Arial"/>
              <a:sym typeface="+mn-lt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3796644" y="1847776"/>
            <a:ext cx="1430200" cy="36933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sv-SE" dirty="0" smtClean="0"/>
              <a:t>Subventioner till förnybart</a:t>
            </a:r>
            <a:endParaRPr lang="sv-SE" dirty="0"/>
          </a:p>
        </p:txBody>
      </p:sp>
      <p:sp>
        <p:nvSpPr>
          <p:cNvPr id="140" name="Isosceles Triangle 139"/>
          <p:cNvSpPr/>
          <p:nvPr/>
        </p:nvSpPr>
        <p:spPr>
          <a:xfrm rot="10800000">
            <a:off x="654050" y="1028303"/>
            <a:ext cx="7703654" cy="7273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1" name="TextBox 140"/>
          <p:cNvSpPr txBox="1"/>
          <p:nvPr/>
        </p:nvSpPr>
        <p:spPr>
          <a:xfrm>
            <a:off x="2978358" y="1045433"/>
            <a:ext cx="3337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Politiska mål – klimat &amp; förnybart</a:t>
            </a:r>
            <a:endParaRPr lang="sv-SE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51522" y="2901650"/>
            <a:ext cx="2626836" cy="3431092"/>
            <a:chOff x="351522" y="2901650"/>
            <a:chExt cx="2626836" cy="3431092"/>
          </a:xfrm>
        </p:grpSpPr>
        <p:sp>
          <p:nvSpPr>
            <p:cNvPr id="55" name="TextBox 54"/>
            <p:cNvSpPr txBox="1"/>
            <p:nvPr/>
          </p:nvSpPr>
          <p:spPr>
            <a:xfrm>
              <a:off x="672363" y="2905902"/>
              <a:ext cx="2305995" cy="3970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spAutoFit/>
            </a:bodyPr>
            <a:lstStyle/>
            <a:p>
              <a:pPr marL="93663" algn="ctr">
                <a:lnSpc>
                  <a:spcPct val="90000"/>
                </a:lnSpc>
                <a:spcBef>
                  <a:spcPts val="600"/>
                </a:spcBef>
              </a:pPr>
              <a:r>
                <a:rPr lang="sv-SE" sz="1100" dirty="0" smtClean="0">
                  <a:solidFill>
                    <a:schemeClr val="bg1"/>
                  </a:solidFill>
                </a:rPr>
                <a:t>Kraftig ökning av förnybar produktion – exemplet Tyskland</a:t>
              </a:r>
            </a:p>
          </p:txBody>
        </p:sp>
        <p:sp>
          <p:nvSpPr>
            <p:cNvPr id="154" name="Oval 153"/>
            <p:cNvSpPr/>
            <p:nvPr/>
          </p:nvSpPr>
          <p:spPr>
            <a:xfrm>
              <a:off x="351522" y="2901650"/>
              <a:ext cx="522502" cy="399725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1</a:t>
              </a:r>
              <a:endParaRPr lang="sv-SE" sz="3200" b="1" dirty="0"/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478522" y="6040354"/>
              <a:ext cx="2287806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300" dirty="0" smtClean="0"/>
                <a:t>(</a:t>
              </a:r>
              <a:r>
                <a:rPr lang="en-GB" sz="1300" dirty="0" err="1" smtClean="0"/>
                <a:t>Och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samtidigt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låg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efterfrågan</a:t>
              </a:r>
              <a:r>
                <a:rPr lang="en-GB" sz="1300" dirty="0" smtClean="0"/>
                <a:t>)</a:t>
              </a:r>
              <a:endParaRPr lang="en-GB" sz="1300" dirty="0"/>
            </a:p>
          </p:txBody>
        </p:sp>
      </p:grpSp>
    </p:spTree>
    <p:extLst>
      <p:ext uri="{BB962C8B-B14F-4D97-AF65-F5344CB8AC3E}">
        <p14:creationId xmlns:p14="http://schemas.microsoft.com/office/powerpoint/2010/main" val="71567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246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Isosceles Triangle 135"/>
          <p:cNvSpPr/>
          <p:nvPr/>
        </p:nvSpPr>
        <p:spPr>
          <a:xfrm rot="10800000">
            <a:off x="654049" y="1803003"/>
            <a:ext cx="7617883" cy="8990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2" name="Rectangle 141"/>
          <p:cNvSpPr/>
          <p:nvPr/>
        </p:nvSpPr>
        <p:spPr>
          <a:xfrm>
            <a:off x="733538" y="1045433"/>
            <a:ext cx="7456305" cy="773058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875" y="22315"/>
            <a:ext cx="8318351" cy="887413"/>
          </a:xfrm>
        </p:spPr>
        <p:txBody>
          <a:bodyPr/>
          <a:lstStyle/>
          <a:p>
            <a:r>
              <a:rPr lang="sv-SE" dirty="0" smtClean="0"/>
              <a:t>Drivkrafter för en ny marknadsdesign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A5A9E-4DB9-4B6B-900B-18E99F5EA25A}" type="datetime1">
              <a:rPr lang="en-GB" smtClean="0"/>
              <a:t>04/02/2016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B4646-3925-4A29-A86E-CE8796BC6684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23" name="Object 2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81000" y="3238500"/>
          <a:ext cx="2581175" cy="2495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Chart" r:id="rId25" imgW="2581175" imgH="2495536" progId="MSGraph.Chart.8">
                  <p:embed followColorScheme="full"/>
                </p:oleObj>
              </mc:Choice>
              <mc:Fallback>
                <p:oleObj name="Chart" r:id="rId25" imgW="2581175" imgH="24955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81000" y="3238500"/>
                        <a:ext cx="2581175" cy="2495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0" name="Straight Connector 149"/>
          <p:cNvCxnSpPr/>
          <p:nvPr>
            <p:custDataLst>
              <p:tags r:id="rId5"/>
            </p:custDataLst>
          </p:nvPr>
        </p:nvCxnSpPr>
        <p:spPr bwMode="auto">
          <a:xfrm flipV="1">
            <a:off x="876300" y="3476625"/>
            <a:ext cx="0" cy="11430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6"/>
            </p:custDataLst>
          </p:nvPr>
        </p:nvCxnSpPr>
        <p:spPr bwMode="auto">
          <a:xfrm>
            <a:off x="2371725" y="34766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>
            <p:custDataLst>
              <p:tags r:id="rId7"/>
            </p:custDataLst>
          </p:nvPr>
        </p:nvCxnSpPr>
        <p:spPr bwMode="auto">
          <a:xfrm>
            <a:off x="876300" y="3476625"/>
            <a:ext cx="14954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6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028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D6EB3DE-EBFD-45F6-8726-A285F95CA7D5}" type="datetime'''''''''''2''''''''''''''''''0''''''''''''''1''''''''0'">
              <a:rPr lang="en-US" sz="1000"/>
              <a:pPr/>
              <a:t>2010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8" name="Text Placeholder 36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0325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CC68378-E8A0-45C3-85E2-23E64BF4C4C1}" type="datetime'''''''20''''''''''''''''''''''''''''''''''1''''''''''''1'''">
              <a:rPr lang="en-US" sz="1000"/>
              <a:pPr/>
              <a:t>2011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4" name="Text Placeholder 37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3040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AC7477-D7E8-4F8B-9AE7-DE799DE1DF90}" type="datetime'''''''''''''2''''0''''1''3'''''''''''''''''''''''''''''">
              <a:rPr lang="en-US" sz="1000"/>
              <a:pPr/>
              <a:t>2013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Text Placeholder 36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025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448E78C-DC79-4037-A00A-66D39140BB77}" type="datetime'''''''''''2''0''''0''''9'''''''">
              <a:rPr lang="en-US" sz="1000"/>
              <a:pPr/>
              <a:t>2009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5" name="Text Placeholder 37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30363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207AAC-D71C-421D-829B-60A5385DF139}" type="datetime'''''''''''''''''''2''''''''01''''''''''''''''''''2'''">
              <a:rPr lang="en-US" sz="1000"/>
              <a:pPr/>
              <a:t>2012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45" name="Text Placeholder 46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234950" y="3843338"/>
            <a:ext cx="152400" cy="129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err="1" smtClean="0">
                <a:latin typeface="+mn-lt"/>
                <a:cs typeface="Arial"/>
                <a:sym typeface="+mn-lt"/>
              </a:rPr>
              <a:t>Installerad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 </a:t>
            </a:r>
            <a:r>
              <a:rPr lang="en-US" sz="1000" dirty="0" err="1" smtClean="0">
                <a:latin typeface="+mn-lt"/>
                <a:cs typeface="Arial"/>
                <a:sym typeface="+mn-lt"/>
              </a:rPr>
              <a:t>kapacitet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, GW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46" name="Text Placeholder 46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27350" y="4064000"/>
            <a:ext cx="152400" cy="85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sv-SE" sz="1000" dirty="0" smtClean="0">
                <a:latin typeface="+mn-lt"/>
                <a:cs typeface="Arial"/>
                <a:sym typeface="+mn-lt"/>
              </a:rPr>
              <a:t>Produktion, TWh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3043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6E5737-C6EB-4362-A146-F29208FBC6B1}" type="datetime'''''''''''''2''''''01''4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GB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4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54138" y="3379788"/>
            <a:ext cx="541338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2B892B7-C5B6-41C8-909C-47A2340578EF}" type="datetime'+24''''''''''''3''''''''''''''''%'''''">
              <a:rPr lang="en-US" sz="1000" b="1">
                <a:cs typeface="Arial" panose="020B0604020202020204" pitchFamily="34" charset="0"/>
              </a:rPr>
              <a:pPr/>
              <a:t>+243%</a:t>
            </a:fld>
            <a:endParaRPr lang="en-GB" sz="1000" b="1" dirty="0"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17"/>
            </p:custDataLst>
          </p:nvPr>
        </p:nvCxnSpPr>
        <p:spPr bwMode="gray">
          <a:xfrm>
            <a:off x="530225" y="5878513"/>
            <a:ext cx="328612" cy="0"/>
          </a:xfrm>
          <a:prstGeom prst="line">
            <a:avLst/>
          </a:prstGeom>
          <a:ln w="28575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18"/>
            </p:custDataLst>
          </p:nvPr>
        </p:nvSpPr>
        <p:spPr bwMode="auto">
          <a:xfrm>
            <a:off x="1685925" y="5826125"/>
            <a:ext cx="142875" cy="106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Text Placeholder 37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79600" y="5822950"/>
            <a:ext cx="9096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6571E1-BF6D-44A1-83A7-34177876D957}" type="datetime'In''stal''le''''r''a''d'' ''k''''''''''''''''apa''''''cit''et'">
              <a:rPr lang="en-US" sz="800"/>
              <a:pPr/>
              <a:t>Installerad kapacitet</a:t>
            </a:fld>
            <a:endParaRPr lang="sv-SE" sz="800" dirty="0">
              <a:latin typeface="Arial"/>
              <a:cs typeface="Arial"/>
              <a:sym typeface="Arial"/>
            </a:endParaRPr>
          </a:p>
        </p:txBody>
      </p:sp>
      <p:sp>
        <p:nvSpPr>
          <p:cNvPr id="33" name="Text Placeholder 37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9638" y="5822950"/>
            <a:ext cx="4889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A22FE9-B444-4287-A45C-20A8448C9843}" type="datetime'''''''P''''''''ro''''d''''ukti''on'''''''''''''''''''''">
              <a:rPr lang="en-US" sz="800"/>
              <a:pPr/>
              <a:t>Produktion</a:t>
            </a:fld>
            <a:endParaRPr lang="sv-SE" sz="800" dirty="0">
              <a:latin typeface="+mn-lt"/>
              <a:cs typeface="Arial"/>
              <a:sym typeface="+mn-lt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3796644" y="1847776"/>
            <a:ext cx="1430200" cy="36933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sv-SE" dirty="0" smtClean="0"/>
              <a:t>Subventioner till förnybart</a:t>
            </a:r>
            <a:endParaRPr lang="sv-SE" dirty="0"/>
          </a:p>
        </p:txBody>
      </p:sp>
      <p:sp>
        <p:nvSpPr>
          <p:cNvPr id="140" name="Isosceles Triangle 139"/>
          <p:cNvSpPr/>
          <p:nvPr/>
        </p:nvSpPr>
        <p:spPr>
          <a:xfrm rot="10800000">
            <a:off x="654050" y="1028303"/>
            <a:ext cx="7703654" cy="7273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1" name="TextBox 140"/>
          <p:cNvSpPr txBox="1"/>
          <p:nvPr/>
        </p:nvSpPr>
        <p:spPr>
          <a:xfrm>
            <a:off x="2978358" y="1045433"/>
            <a:ext cx="3337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Politiska mål – klimat &amp; förnybart</a:t>
            </a:r>
            <a:endParaRPr lang="sv-SE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51522" y="2901650"/>
            <a:ext cx="2626836" cy="3431092"/>
            <a:chOff x="351522" y="2901650"/>
            <a:chExt cx="2626836" cy="3431092"/>
          </a:xfrm>
        </p:grpSpPr>
        <p:sp>
          <p:nvSpPr>
            <p:cNvPr id="55" name="TextBox 54"/>
            <p:cNvSpPr txBox="1"/>
            <p:nvPr/>
          </p:nvSpPr>
          <p:spPr>
            <a:xfrm>
              <a:off x="672363" y="2905902"/>
              <a:ext cx="2305995" cy="3970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spAutoFit/>
            </a:bodyPr>
            <a:lstStyle/>
            <a:p>
              <a:pPr marL="93663" algn="ctr">
                <a:lnSpc>
                  <a:spcPct val="90000"/>
                </a:lnSpc>
                <a:spcBef>
                  <a:spcPts val="600"/>
                </a:spcBef>
              </a:pPr>
              <a:r>
                <a:rPr lang="sv-SE" sz="1100" dirty="0" smtClean="0">
                  <a:solidFill>
                    <a:schemeClr val="bg1"/>
                  </a:solidFill>
                </a:rPr>
                <a:t>Kraftig ökning av förnybar produktion – exemplet Tyskland</a:t>
              </a:r>
            </a:p>
          </p:txBody>
        </p:sp>
        <p:sp>
          <p:nvSpPr>
            <p:cNvPr id="154" name="Oval 153"/>
            <p:cNvSpPr/>
            <p:nvPr/>
          </p:nvSpPr>
          <p:spPr>
            <a:xfrm>
              <a:off x="351522" y="2901650"/>
              <a:ext cx="522502" cy="399725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1</a:t>
              </a:r>
              <a:endParaRPr lang="sv-SE" sz="3200" b="1" dirty="0"/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478522" y="6040354"/>
              <a:ext cx="2287806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300" dirty="0" smtClean="0"/>
                <a:t>(</a:t>
              </a:r>
              <a:r>
                <a:rPr lang="en-GB" sz="1300" dirty="0" err="1" smtClean="0"/>
                <a:t>Och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samtidigt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låg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efterfrågan</a:t>
              </a:r>
              <a:r>
                <a:rPr lang="en-GB" sz="1300" dirty="0" smtClean="0"/>
                <a:t>)</a:t>
              </a:r>
              <a:endParaRPr lang="en-GB" sz="13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110898" y="2892052"/>
            <a:ext cx="2679592" cy="3440690"/>
            <a:chOff x="3110898" y="2892052"/>
            <a:chExt cx="2679592" cy="3440690"/>
          </a:xfrm>
        </p:grpSpPr>
        <p:sp>
          <p:nvSpPr>
            <p:cNvPr id="153" name="TextBox 152"/>
            <p:cNvSpPr txBox="1"/>
            <p:nvPr/>
          </p:nvSpPr>
          <p:spPr>
            <a:xfrm>
              <a:off x="3372149" y="2892052"/>
              <a:ext cx="2418341" cy="4247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noAutofit/>
            </a:bodyPr>
            <a:lstStyle/>
            <a:p>
              <a:pPr marL="271463">
                <a:lnSpc>
                  <a:spcPct val="90000"/>
                </a:lnSpc>
                <a:spcBef>
                  <a:spcPts val="600"/>
                </a:spcBef>
              </a:pPr>
              <a:r>
                <a:rPr lang="sv-SE" sz="1200" dirty="0" smtClean="0">
                  <a:solidFill>
                    <a:schemeClr val="bg1"/>
                  </a:solidFill>
                </a:rPr>
                <a:t>Fallande elpris</a:t>
              </a:r>
            </a:p>
          </p:txBody>
        </p:sp>
        <p:sp>
          <p:nvSpPr>
            <p:cNvPr id="155" name="Oval 154"/>
            <p:cNvSpPr/>
            <p:nvPr/>
          </p:nvSpPr>
          <p:spPr>
            <a:xfrm>
              <a:off x="3110898" y="2892052"/>
              <a:ext cx="522502" cy="421853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2</a:t>
              </a:r>
              <a:endParaRPr lang="sv-SE" sz="3200" b="1" dirty="0"/>
            </a:p>
          </p:txBody>
        </p:sp>
        <p:graphicFrame>
          <p:nvGraphicFramePr>
            <p:cNvPr id="98" name="Chart 97"/>
            <p:cNvGraphicFramePr>
              <a:graphicFrameLocks/>
            </p:cNvGraphicFramePr>
            <p:nvPr>
              <p:extLst/>
            </p:nvPr>
          </p:nvGraphicFramePr>
          <p:xfrm>
            <a:off x="3177963" y="3409361"/>
            <a:ext cx="2489412" cy="29233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731336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1000"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Isosceles Triangle 135"/>
          <p:cNvSpPr/>
          <p:nvPr/>
        </p:nvSpPr>
        <p:spPr>
          <a:xfrm rot="10800000">
            <a:off x="654049" y="1803003"/>
            <a:ext cx="7617883" cy="8990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2" name="Rectangle 141"/>
          <p:cNvSpPr/>
          <p:nvPr/>
        </p:nvSpPr>
        <p:spPr>
          <a:xfrm>
            <a:off x="733538" y="1045433"/>
            <a:ext cx="7456305" cy="773058"/>
          </a:xfrm>
          <a:prstGeom prst="rect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875" y="22315"/>
            <a:ext cx="8318351" cy="887413"/>
          </a:xfrm>
        </p:spPr>
        <p:txBody>
          <a:bodyPr/>
          <a:lstStyle/>
          <a:p>
            <a:r>
              <a:rPr lang="sv-SE" dirty="0" smtClean="0"/>
              <a:t>Drivkrafter för en ny marknadsdesign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A5A9E-4DB9-4B6B-900B-18E99F5EA25A}" type="datetime1">
              <a:rPr lang="en-GB" smtClean="0"/>
              <a:t>04/02/2016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2B4646-3925-4A29-A86E-CE8796BC6684}" type="slidenum">
              <a:rPr lang="en-GB" smtClean="0"/>
              <a:pPr/>
              <a:t>5</a:t>
            </a:fld>
            <a:endParaRPr lang="en-GB" dirty="0"/>
          </a:p>
        </p:txBody>
      </p:sp>
      <p:graphicFrame>
        <p:nvGraphicFramePr>
          <p:cNvPr id="23" name="Object 2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81000" y="3238500"/>
          <a:ext cx="2581175" cy="2495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Chart" r:id="rId37" imgW="2581175" imgH="2495536" progId="MSGraph.Chart.8">
                  <p:embed followColorScheme="full"/>
                </p:oleObj>
              </mc:Choice>
              <mc:Fallback>
                <p:oleObj name="Chart" r:id="rId37" imgW="2581175" imgH="24955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381000" y="3238500"/>
                        <a:ext cx="2581175" cy="2495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0" name="Straight Connector 149"/>
          <p:cNvCxnSpPr/>
          <p:nvPr>
            <p:custDataLst>
              <p:tags r:id="rId5"/>
            </p:custDataLst>
          </p:nvPr>
        </p:nvCxnSpPr>
        <p:spPr bwMode="auto">
          <a:xfrm flipV="1">
            <a:off x="876300" y="3476625"/>
            <a:ext cx="0" cy="11430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6"/>
            </p:custDataLst>
          </p:nvPr>
        </p:nvCxnSpPr>
        <p:spPr bwMode="auto">
          <a:xfrm>
            <a:off x="2371725" y="34766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>
            <p:custDataLst>
              <p:tags r:id="rId7"/>
            </p:custDataLst>
          </p:nvPr>
        </p:nvCxnSpPr>
        <p:spPr bwMode="auto">
          <a:xfrm>
            <a:off x="876300" y="3476625"/>
            <a:ext cx="14954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6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3028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D6EB3DE-EBFD-45F6-8726-A285F95CA7D5}" type="datetime'''''''''''2''''''''''''''''''0''''''''''''''1''''''''0'">
              <a:rPr lang="en-US" sz="1000"/>
              <a:pPr/>
              <a:t>2010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8" name="Text Placeholder 36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0325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CC68378-E8A0-45C3-85E2-23E64BF4C4C1}" type="datetime'''''''20''''''''''''''''''''''''''''''''''1''''''''''''1'''">
              <a:rPr lang="en-US" sz="1000"/>
              <a:pPr/>
              <a:t>2011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4" name="Text Placeholder 37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3040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AC7477-D7E8-4F8B-9AE7-DE799DE1DF90}" type="datetime'''''''''''''2''''0''''1''3'''''''''''''''''''''''''''''">
              <a:rPr lang="en-US" sz="1000"/>
              <a:pPr/>
              <a:t>2013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27" name="Text Placeholder 36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0250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448E78C-DC79-4037-A00A-66D39140BB77}" type="datetime'''''''''''2''0''''0''''9'''''''">
              <a:rPr lang="en-US" sz="1000"/>
              <a:pPr/>
              <a:t>2009</a:t>
            </a:fld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5" name="Text Placeholder 37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30363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207AAC-D71C-421D-829B-60A5385DF139}" type="datetime'''''''''''''''''''2''''''''01''''''''''''''''''''2'''">
              <a:rPr lang="en-US" sz="1000"/>
              <a:pPr/>
              <a:t>2012</a:t>
            </a:fld>
            <a:endParaRPr lang="sv-SE" sz="1000" dirty="0">
              <a:latin typeface="Arial"/>
              <a:cs typeface="Arial"/>
              <a:sym typeface="Arial"/>
            </a:endParaRPr>
          </a:p>
        </p:txBody>
      </p:sp>
      <p:sp>
        <p:nvSpPr>
          <p:cNvPr id="45" name="Text Placeholder 46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234950" y="3843338"/>
            <a:ext cx="152400" cy="129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err="1" smtClean="0">
                <a:latin typeface="+mn-lt"/>
                <a:cs typeface="Arial"/>
                <a:sym typeface="+mn-lt"/>
              </a:rPr>
              <a:t>Installerad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 </a:t>
            </a:r>
            <a:r>
              <a:rPr lang="en-US" sz="1000" dirty="0" err="1" smtClean="0">
                <a:latin typeface="+mn-lt"/>
                <a:cs typeface="Arial"/>
                <a:sym typeface="+mn-lt"/>
              </a:rPr>
              <a:t>kapacitet</a:t>
            </a:r>
            <a:r>
              <a:rPr lang="en-US" sz="1000" dirty="0" smtClean="0">
                <a:latin typeface="+mn-lt"/>
                <a:cs typeface="Arial"/>
                <a:sym typeface="+mn-lt"/>
              </a:rPr>
              <a:t>, GW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46" name="Text Placeholder 46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27350" y="4064000"/>
            <a:ext cx="152400" cy="855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sv-SE" sz="1000" dirty="0" smtClean="0">
                <a:latin typeface="+mn-lt"/>
                <a:cs typeface="Arial"/>
                <a:sym typeface="+mn-lt"/>
              </a:rPr>
              <a:t>Produktion, TWh</a:t>
            </a:r>
            <a:endParaRPr lang="sv-SE" sz="1000" dirty="0">
              <a:latin typeface="+mn-lt"/>
              <a:cs typeface="Arial"/>
              <a:sym typeface="+mn-lt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30438" y="559435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6E5737-C6EB-4362-A146-F29208FBC6B1}" type="datetime'''''''''''''2''''''01''4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GB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9" name="Text Placeholder 4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54138" y="3379788"/>
            <a:ext cx="541338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2B892B7-C5B6-41C8-909C-47A2340578EF}" type="datetime'+24''''''''''''3''''''''''''''''%'''''">
              <a:rPr lang="en-US" sz="1000" b="1">
                <a:cs typeface="Arial" panose="020B0604020202020204" pitchFamily="34" charset="0"/>
              </a:rPr>
              <a:pPr/>
              <a:t>+243%</a:t>
            </a:fld>
            <a:endParaRPr lang="en-GB" sz="1000" b="1" dirty="0"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17"/>
            </p:custDataLst>
          </p:nvPr>
        </p:nvCxnSpPr>
        <p:spPr bwMode="gray">
          <a:xfrm>
            <a:off x="530225" y="5878513"/>
            <a:ext cx="328612" cy="0"/>
          </a:xfrm>
          <a:prstGeom prst="line">
            <a:avLst/>
          </a:prstGeom>
          <a:ln w="28575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18"/>
            </p:custDataLst>
          </p:nvPr>
        </p:nvSpPr>
        <p:spPr bwMode="auto">
          <a:xfrm>
            <a:off x="1685925" y="5826125"/>
            <a:ext cx="142875" cy="106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Text Placeholder 37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79600" y="5822950"/>
            <a:ext cx="9096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6571E1-BF6D-44A1-83A7-34177876D957}" type="datetime'In''stal''le''''r''a''d'' ''k''''''''''''''''apa''''''cit''et'">
              <a:rPr lang="en-US" sz="800"/>
              <a:pPr/>
              <a:t>Installerad kapacitet</a:t>
            </a:fld>
            <a:endParaRPr lang="sv-SE" sz="800" dirty="0">
              <a:latin typeface="Arial"/>
              <a:cs typeface="Arial"/>
              <a:sym typeface="Arial"/>
            </a:endParaRPr>
          </a:p>
        </p:txBody>
      </p:sp>
      <p:sp>
        <p:nvSpPr>
          <p:cNvPr id="33" name="Text Placeholder 37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9638" y="5822950"/>
            <a:ext cx="4889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A22FE9-B444-4287-A45C-20A8448C9843}" type="datetime'''''''P''''''''ro''''d''''ukti''on'''''''''''''''''''''">
              <a:rPr lang="en-US" sz="800"/>
              <a:pPr/>
              <a:t>Produktion</a:t>
            </a:fld>
            <a:endParaRPr lang="sv-SE" sz="800" dirty="0">
              <a:latin typeface="+mn-lt"/>
              <a:cs typeface="Arial"/>
              <a:sym typeface="+mn-lt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3796644" y="1847776"/>
            <a:ext cx="1430200" cy="36933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sv-SE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sv-SE" dirty="0" smtClean="0"/>
              <a:t>Subventioner till förnybart</a:t>
            </a:r>
            <a:endParaRPr lang="sv-SE" dirty="0"/>
          </a:p>
        </p:txBody>
      </p:sp>
      <p:sp>
        <p:nvSpPr>
          <p:cNvPr id="140" name="Isosceles Triangle 139"/>
          <p:cNvSpPr/>
          <p:nvPr/>
        </p:nvSpPr>
        <p:spPr>
          <a:xfrm rot="10800000">
            <a:off x="654050" y="1028303"/>
            <a:ext cx="7703654" cy="727312"/>
          </a:xfrm>
          <a:prstGeom prst="triangle">
            <a:avLst/>
          </a:prstGeom>
          <a:solidFill>
            <a:srgbClr val="8593A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1" name="TextBox 140"/>
          <p:cNvSpPr txBox="1"/>
          <p:nvPr/>
        </p:nvSpPr>
        <p:spPr>
          <a:xfrm>
            <a:off x="2978358" y="1045433"/>
            <a:ext cx="3337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Politiska mål – klimat &amp; förnybart</a:t>
            </a:r>
            <a:endParaRPr lang="sv-SE" dirty="0">
              <a:solidFill>
                <a:schemeClr val="bg1"/>
              </a:solidFill>
            </a:endParaRPr>
          </a:p>
        </p:txBody>
      </p:sp>
      <p:cxnSp>
        <p:nvCxnSpPr>
          <p:cNvPr id="169" name="Straight Connector 168"/>
          <p:cNvCxnSpPr/>
          <p:nvPr>
            <p:custDataLst>
              <p:tags r:id="rId21"/>
            </p:custDataLst>
          </p:nvPr>
        </p:nvCxnSpPr>
        <p:spPr bwMode="auto">
          <a:xfrm>
            <a:off x="6734175" y="5162550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>
            <p:custDataLst>
              <p:tags r:id="rId22"/>
            </p:custDataLst>
          </p:nvPr>
        </p:nvCxnSpPr>
        <p:spPr bwMode="auto">
          <a:xfrm>
            <a:off x="7153275" y="4848225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>
            <p:custDataLst>
              <p:tags r:id="rId23"/>
            </p:custDataLst>
          </p:nvPr>
        </p:nvCxnSpPr>
        <p:spPr bwMode="auto">
          <a:xfrm>
            <a:off x="7572375" y="4057650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>
            <p:custDataLst>
              <p:tags r:id="rId24"/>
            </p:custDataLst>
          </p:nvPr>
        </p:nvCxnSpPr>
        <p:spPr bwMode="auto">
          <a:xfrm>
            <a:off x="6315075" y="5400675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25"/>
            </p:custDataLst>
          </p:nvPr>
        </p:nvCxnSpPr>
        <p:spPr bwMode="auto">
          <a:xfrm>
            <a:off x="7991475" y="3486150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Object 169"/>
          <p:cNvGraphicFramePr>
            <a:graphicFrameLocks/>
          </p:cNvGraphicFramePr>
          <p:nvPr>
            <p:custDataLst>
              <p:tags r:id="rId26"/>
            </p:custDataLst>
            <p:extLst/>
          </p:nvPr>
        </p:nvGraphicFramePr>
        <p:xfrm>
          <a:off x="5867400" y="3162300"/>
          <a:ext cx="2733745" cy="2552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Chart" r:id="rId39" imgW="2733745" imgH="2552580" progId="MSGraph.Chart.8">
                  <p:embed followColorScheme="full"/>
                </p:oleObj>
              </mc:Choice>
              <mc:Fallback>
                <p:oleObj name="Chart" r:id="rId39" imgW="2733745" imgH="25525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867400" y="3162300"/>
                        <a:ext cx="2733745" cy="25525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9" name="Text Placeholder 51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61338" y="5727700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852B55-A1E3-40A9-86E0-EC3085EDDBCC}" type="datetime'''''''''''''''To''t''''''''''''''''''a''''l'''''''">
              <a:rPr lang="en-US" sz="1000">
                <a:latin typeface="Sweco Sans" panose="00000500000000000000" charset="0"/>
                <a:cs typeface="Arial" panose="020B0604020202020204" pitchFamily="34" charset="0"/>
                <a:sym typeface="Sweco Sans" panose="00000500000000000000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000" dirty="0">
              <a:latin typeface="Sweco Sans" panose="00000500000000000000" charset="0"/>
              <a:cs typeface="Arial" panose="020B0604020202020204" pitchFamily="34" charset="0"/>
              <a:sym typeface="Sweco Sans" panose="00000500000000000000" charset="0"/>
            </a:endParaRPr>
          </a:p>
        </p:txBody>
      </p:sp>
      <p:sp>
        <p:nvSpPr>
          <p:cNvPr id="172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737475" y="57277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D094BDC-78B8-4E94-B222-A311421587FC}" type="datetime'2''0''''''''''1''''4'''''''''''''''''''''''''''''''''''''''''">
              <a:rPr lang="en-US" sz="1000">
                <a:latin typeface="Sweco Sans" panose="00000500000000000000" charset="0"/>
                <a:sym typeface="Sweco Sans" panose="00000500000000000000" charset="0"/>
              </a:rPr>
              <a:pPr/>
              <a:t>2014</a:t>
            </a:fld>
            <a:endParaRPr lang="sv-SE" sz="1000" dirty="0">
              <a:latin typeface="Sweco Sans" panose="00000500000000000000" charset="0"/>
              <a:cs typeface="Arial"/>
              <a:sym typeface="Sweco Sans" panose="00000500000000000000" charset="0"/>
            </a:endParaRPr>
          </a:p>
        </p:txBody>
      </p:sp>
      <p:sp>
        <p:nvSpPr>
          <p:cNvPr id="171" name="Text Placeholder 11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318375" y="57277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DEDEEF-77ED-4E66-A1AD-0A317F89D6C1}" type="datetime'''''''''''''''''''2''''''''''01''''''''''''''''''3'''''''''">
              <a:rPr lang="en-US" sz="1000">
                <a:latin typeface="Sweco Sans" panose="00000500000000000000" charset="0"/>
                <a:sym typeface="Sweco Sans" panose="00000500000000000000" charset="0"/>
              </a:rPr>
              <a:pPr/>
              <a:t>2013</a:t>
            </a:fld>
            <a:endParaRPr lang="sv-SE" sz="1000" dirty="0">
              <a:latin typeface="Sweco Sans" panose="00000500000000000000" charset="0"/>
              <a:cs typeface="Arial"/>
              <a:sym typeface="Sweco Sans" panose="00000500000000000000" charset="0"/>
            </a:endParaRPr>
          </a:p>
        </p:txBody>
      </p:sp>
      <p:sp>
        <p:nvSpPr>
          <p:cNvPr id="173" name="Text Placeholder 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80175" y="57277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7482C1E-26C6-4E84-B727-431AF3FB344F}" type="datetime'''''''''''''''20''''1''''''''''''''''''''''''''1'''''''''">
              <a:rPr lang="en-US" sz="1000">
                <a:latin typeface="Sweco Sans" panose="00000500000000000000" charset="0"/>
                <a:sym typeface="Sweco Sans" panose="00000500000000000000" charset="0"/>
              </a:rPr>
              <a:pPr/>
              <a:t>2011</a:t>
            </a:fld>
            <a:endParaRPr lang="sv-SE" sz="1000" dirty="0">
              <a:latin typeface="Sweco Sans" panose="00000500000000000000" charset="0"/>
              <a:cs typeface="Arial"/>
              <a:sym typeface="Sweco Sans" panose="00000500000000000000" charset="0"/>
            </a:endParaRPr>
          </a:p>
        </p:txBody>
      </p:sp>
      <p:sp>
        <p:nvSpPr>
          <p:cNvPr id="174" name="Text Placeholder 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899275" y="57277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EE35AD-BBC5-49B2-A1AB-FB0F70CD1CFE}" type="datetime'''''''''''''''''''''2''''''''''''''''0''''''''''''''''1''2'">
              <a:rPr lang="en-US" sz="1000">
                <a:latin typeface="Sweco Sans" panose="00000500000000000000" charset="0"/>
                <a:sym typeface="Sweco Sans" panose="00000500000000000000" charset="0"/>
              </a:rPr>
              <a:pPr/>
              <a:t>2012</a:t>
            </a:fld>
            <a:endParaRPr lang="sv-SE" sz="1000" dirty="0">
              <a:latin typeface="Sweco Sans" panose="00000500000000000000" charset="0"/>
              <a:cs typeface="Arial"/>
              <a:sym typeface="Sweco Sans" panose="00000500000000000000" charset="0"/>
            </a:endParaRPr>
          </a:p>
        </p:txBody>
      </p:sp>
      <p:sp>
        <p:nvSpPr>
          <p:cNvPr id="175" name="Text Placeholder 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061075" y="5727700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2925" indent="-180975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4375" indent="-17145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C4FA4C-DB5B-4328-B581-4A0D34C46B5F}" type="datetime'''''''20''''''1''''''''''''''''''''''''''''''''''''''0'''">
              <a:rPr lang="en-US" sz="1000">
                <a:latin typeface="Sweco Sans" panose="00000500000000000000" charset="0"/>
                <a:sym typeface="Sweco Sans" panose="00000500000000000000" charset="0"/>
              </a:rPr>
              <a:pPr/>
              <a:t>2010</a:t>
            </a:fld>
            <a:endParaRPr lang="sv-SE" sz="1000" dirty="0">
              <a:latin typeface="Sweco Sans" panose="00000500000000000000" charset="0"/>
              <a:cs typeface="Arial"/>
              <a:sym typeface="Sweco Sans" panose="00000500000000000000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883702" y="2892052"/>
            <a:ext cx="2679592" cy="964399"/>
            <a:chOff x="5883702" y="2892052"/>
            <a:chExt cx="2679592" cy="964399"/>
          </a:xfrm>
        </p:grpSpPr>
        <p:sp>
          <p:nvSpPr>
            <p:cNvPr id="164" name="TextBox 163"/>
            <p:cNvSpPr txBox="1"/>
            <p:nvPr/>
          </p:nvSpPr>
          <p:spPr>
            <a:xfrm>
              <a:off x="6144953" y="2892052"/>
              <a:ext cx="2418341" cy="4247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noAutofit/>
            </a:bodyPr>
            <a:lstStyle/>
            <a:p>
              <a:pPr marL="271463">
                <a:lnSpc>
                  <a:spcPct val="90000"/>
                </a:lnSpc>
                <a:spcBef>
                  <a:spcPts val="600"/>
                </a:spcBef>
              </a:pPr>
              <a:r>
                <a:rPr lang="sv-SE" sz="1200" dirty="0" smtClean="0">
                  <a:solidFill>
                    <a:schemeClr val="bg1"/>
                  </a:solidFill>
                </a:rPr>
                <a:t>Finansiellt pressade kraftbolag</a:t>
              </a:r>
            </a:p>
          </p:txBody>
        </p:sp>
        <p:sp>
          <p:nvSpPr>
            <p:cNvPr id="165" name="Oval 164"/>
            <p:cNvSpPr/>
            <p:nvPr/>
          </p:nvSpPr>
          <p:spPr>
            <a:xfrm>
              <a:off x="5883702" y="2892052"/>
              <a:ext cx="522502" cy="421853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3</a:t>
              </a:r>
              <a:endParaRPr lang="sv-SE" sz="3200" b="1" dirty="0"/>
            </a:p>
          </p:txBody>
        </p:sp>
        <p:sp>
          <p:nvSpPr>
            <p:cNvPr id="184" name="TextBox 183"/>
            <p:cNvSpPr txBox="1"/>
            <p:nvPr/>
          </p:nvSpPr>
          <p:spPr>
            <a:xfrm>
              <a:off x="6139657" y="3487119"/>
              <a:ext cx="9252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900" dirty="0" err="1" smtClean="0"/>
                <a:t>Nedskrivningar</a:t>
              </a:r>
              <a:r>
                <a:rPr lang="en-GB" sz="900" dirty="0" smtClean="0"/>
                <a:t>,</a:t>
              </a:r>
            </a:p>
            <a:p>
              <a:r>
                <a:rPr lang="en-GB" sz="900" dirty="0" err="1" smtClean="0"/>
                <a:t>Miljarder</a:t>
              </a:r>
              <a:r>
                <a:rPr lang="en-GB" sz="900" dirty="0" smtClean="0"/>
                <a:t> euro</a:t>
              </a:r>
              <a:endParaRPr lang="en-GB" sz="90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51522" y="2901650"/>
            <a:ext cx="2626836" cy="3431092"/>
            <a:chOff x="351522" y="2901650"/>
            <a:chExt cx="2626836" cy="3431092"/>
          </a:xfrm>
        </p:grpSpPr>
        <p:sp>
          <p:nvSpPr>
            <p:cNvPr id="55" name="TextBox 54"/>
            <p:cNvSpPr txBox="1"/>
            <p:nvPr/>
          </p:nvSpPr>
          <p:spPr>
            <a:xfrm>
              <a:off x="672363" y="2905902"/>
              <a:ext cx="2305995" cy="3970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spAutoFit/>
            </a:bodyPr>
            <a:lstStyle/>
            <a:p>
              <a:pPr marL="93663" algn="ctr">
                <a:lnSpc>
                  <a:spcPct val="90000"/>
                </a:lnSpc>
                <a:spcBef>
                  <a:spcPts val="600"/>
                </a:spcBef>
              </a:pPr>
              <a:r>
                <a:rPr lang="sv-SE" sz="1100" dirty="0" smtClean="0">
                  <a:solidFill>
                    <a:schemeClr val="bg1"/>
                  </a:solidFill>
                </a:rPr>
                <a:t>Kraftig ökning av förnybar produktion – exemplet Tyskland</a:t>
              </a:r>
            </a:p>
          </p:txBody>
        </p:sp>
        <p:sp>
          <p:nvSpPr>
            <p:cNvPr id="154" name="Oval 153"/>
            <p:cNvSpPr/>
            <p:nvPr/>
          </p:nvSpPr>
          <p:spPr>
            <a:xfrm>
              <a:off x="351522" y="2901650"/>
              <a:ext cx="522502" cy="399725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1</a:t>
              </a:r>
              <a:endParaRPr lang="sv-SE" sz="3200" b="1" dirty="0"/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478522" y="6040354"/>
              <a:ext cx="2287806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300" dirty="0" smtClean="0"/>
                <a:t>(</a:t>
              </a:r>
              <a:r>
                <a:rPr lang="en-GB" sz="1300" dirty="0" err="1" smtClean="0"/>
                <a:t>Och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samtidigt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låg</a:t>
              </a:r>
              <a:r>
                <a:rPr lang="en-GB" sz="1300" dirty="0" smtClean="0"/>
                <a:t> </a:t>
              </a:r>
              <a:r>
                <a:rPr lang="en-GB" sz="1300" dirty="0" err="1" smtClean="0"/>
                <a:t>efterfrågan</a:t>
              </a:r>
              <a:r>
                <a:rPr lang="en-GB" sz="1300" dirty="0" smtClean="0"/>
                <a:t>)</a:t>
              </a:r>
              <a:endParaRPr lang="en-GB" sz="13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110898" y="2892052"/>
            <a:ext cx="2679592" cy="3440690"/>
            <a:chOff x="3110898" y="2892052"/>
            <a:chExt cx="2679592" cy="3440690"/>
          </a:xfrm>
        </p:grpSpPr>
        <p:sp>
          <p:nvSpPr>
            <p:cNvPr id="153" name="TextBox 152"/>
            <p:cNvSpPr txBox="1"/>
            <p:nvPr/>
          </p:nvSpPr>
          <p:spPr>
            <a:xfrm>
              <a:off x="3372149" y="2892052"/>
              <a:ext cx="2418341" cy="424732"/>
            </a:xfrm>
            <a:prstGeom prst="rect">
              <a:avLst/>
            </a:prstGeom>
            <a:solidFill>
              <a:srgbClr val="8593AF"/>
            </a:solidFill>
          </p:spPr>
          <p:txBody>
            <a:bodyPr wrap="square" rtlCol="0" anchor="ctr">
              <a:noAutofit/>
            </a:bodyPr>
            <a:lstStyle/>
            <a:p>
              <a:pPr marL="271463">
                <a:lnSpc>
                  <a:spcPct val="90000"/>
                </a:lnSpc>
                <a:spcBef>
                  <a:spcPts val="600"/>
                </a:spcBef>
              </a:pPr>
              <a:r>
                <a:rPr lang="sv-SE" sz="1200" dirty="0" smtClean="0">
                  <a:solidFill>
                    <a:schemeClr val="bg1"/>
                  </a:solidFill>
                </a:rPr>
                <a:t>Fallande elpris</a:t>
              </a:r>
            </a:p>
          </p:txBody>
        </p:sp>
        <p:sp>
          <p:nvSpPr>
            <p:cNvPr id="155" name="Oval 154"/>
            <p:cNvSpPr/>
            <p:nvPr/>
          </p:nvSpPr>
          <p:spPr>
            <a:xfrm>
              <a:off x="3110898" y="2892052"/>
              <a:ext cx="522502" cy="421853"/>
            </a:xfrm>
            <a:prstGeom prst="ellipse">
              <a:avLst/>
            </a:prstGeom>
            <a:solidFill>
              <a:srgbClr val="8593AF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b="1" dirty="0" smtClean="0"/>
                <a:t>2</a:t>
              </a:r>
              <a:endParaRPr lang="sv-SE" sz="3200" b="1" dirty="0"/>
            </a:p>
          </p:txBody>
        </p:sp>
        <p:graphicFrame>
          <p:nvGraphicFramePr>
            <p:cNvPr id="98" name="Chart 97"/>
            <p:cNvGraphicFramePr>
              <a:graphicFrameLocks/>
            </p:cNvGraphicFramePr>
            <p:nvPr>
              <p:extLst/>
            </p:nvPr>
          </p:nvGraphicFramePr>
          <p:xfrm>
            <a:off x="3177963" y="3409361"/>
            <a:ext cx="2489412" cy="29233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1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18008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178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4318" y="450078"/>
            <a:ext cx="8318351" cy="887413"/>
          </a:xfrm>
        </p:spPr>
        <p:txBody>
          <a:bodyPr>
            <a:normAutofit/>
          </a:bodyPr>
          <a:lstStyle/>
          <a:p>
            <a:r>
              <a:rPr lang="sv-SE" dirty="0" smtClean="0"/>
              <a:t>Politiken formas i en dragkamp mellan olika mål </a:t>
            </a:r>
            <a:br>
              <a:rPr lang="sv-SE" dirty="0" smtClean="0"/>
            </a:br>
            <a:r>
              <a:rPr lang="sv-SE" dirty="0" smtClean="0"/>
              <a:t>– som ibland står emot varandra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4004733" y="1706823"/>
            <a:ext cx="6238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iljö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604318" y="3645113"/>
            <a:ext cx="1853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Leveranssäkerhet</a:t>
            </a:r>
            <a:endParaRPr lang="sv-SE" dirty="0"/>
          </a:p>
        </p:txBody>
      </p:sp>
      <p:sp>
        <p:nvSpPr>
          <p:cNvPr id="3" name="TextBox 2"/>
          <p:cNvSpPr txBox="1"/>
          <p:nvPr/>
        </p:nvSpPr>
        <p:spPr>
          <a:xfrm>
            <a:off x="6246937" y="3644385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Effektivitet</a:t>
            </a:r>
            <a:endParaRPr lang="sv-SE" dirty="0"/>
          </a:p>
        </p:txBody>
      </p:sp>
      <p:sp>
        <p:nvSpPr>
          <p:cNvPr id="5" name="Isosceles Triangle 4"/>
          <p:cNvSpPr/>
          <p:nvPr/>
        </p:nvSpPr>
        <p:spPr>
          <a:xfrm>
            <a:off x="2453870" y="2162843"/>
            <a:ext cx="3793067" cy="1685257"/>
          </a:xfrm>
          <a:prstGeom prst="triangle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7" name="Group 6"/>
          <p:cNvGrpSpPr/>
          <p:nvPr/>
        </p:nvGrpSpPr>
        <p:grpSpPr>
          <a:xfrm>
            <a:off x="2453870" y="3848100"/>
            <a:ext cx="3793067" cy="2331588"/>
            <a:chOff x="2453870" y="3848100"/>
            <a:chExt cx="3793067" cy="2331588"/>
          </a:xfrm>
        </p:grpSpPr>
        <p:sp>
          <p:nvSpPr>
            <p:cNvPr id="11" name="TextBox 10"/>
            <p:cNvSpPr txBox="1"/>
            <p:nvPr/>
          </p:nvSpPr>
          <p:spPr>
            <a:xfrm>
              <a:off x="3503055" y="5533357"/>
              <a:ext cx="169469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dirty="0" smtClean="0"/>
                <a:t>Europeisk </a:t>
              </a:r>
              <a:br>
                <a:rPr lang="sv-SE" dirty="0" smtClean="0"/>
              </a:br>
              <a:r>
                <a:rPr lang="sv-SE" dirty="0" smtClean="0"/>
                <a:t>konkurrenskraft</a:t>
              </a:r>
              <a:endParaRPr lang="sv-SE" dirty="0"/>
            </a:p>
          </p:txBody>
        </p:sp>
        <p:sp>
          <p:nvSpPr>
            <p:cNvPr id="14" name="Isosceles Triangle 13"/>
            <p:cNvSpPr/>
            <p:nvPr/>
          </p:nvSpPr>
          <p:spPr>
            <a:xfrm rot="10800000">
              <a:off x="2453870" y="3848100"/>
              <a:ext cx="3793067" cy="1685257"/>
            </a:xfrm>
            <a:prstGeom prst="triangle">
              <a:avLst/>
            </a:prstGeom>
            <a:solidFill>
              <a:srgbClr val="8593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</p:spTree>
    <p:extLst>
      <p:ext uri="{BB962C8B-B14F-4D97-AF65-F5344CB8AC3E}">
        <p14:creationId xmlns:p14="http://schemas.microsoft.com/office/powerpoint/2010/main" val="27518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4318" y="450078"/>
            <a:ext cx="8318351" cy="887413"/>
          </a:xfrm>
        </p:spPr>
        <p:txBody>
          <a:bodyPr>
            <a:normAutofit/>
          </a:bodyPr>
          <a:lstStyle/>
          <a:p>
            <a:r>
              <a:rPr lang="sv-SE" dirty="0" smtClean="0"/>
              <a:t>Politiken formas i en dragkamp mellan olika mål </a:t>
            </a:r>
            <a:br>
              <a:rPr lang="sv-SE" dirty="0" smtClean="0"/>
            </a:br>
            <a:r>
              <a:rPr lang="sv-SE" dirty="0" smtClean="0"/>
              <a:t>– som ibland står emot varandra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4004733" y="1706823"/>
            <a:ext cx="6238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iljö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604318" y="3645113"/>
            <a:ext cx="1853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Leveranssäkerhet</a:t>
            </a:r>
            <a:endParaRPr lang="sv-SE" dirty="0"/>
          </a:p>
        </p:txBody>
      </p:sp>
      <p:sp>
        <p:nvSpPr>
          <p:cNvPr id="3" name="TextBox 2"/>
          <p:cNvSpPr txBox="1"/>
          <p:nvPr/>
        </p:nvSpPr>
        <p:spPr>
          <a:xfrm>
            <a:off x="6246937" y="3644385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Effektivitet</a:t>
            </a:r>
            <a:endParaRPr lang="sv-SE" dirty="0"/>
          </a:p>
        </p:txBody>
      </p:sp>
      <p:sp>
        <p:nvSpPr>
          <p:cNvPr id="5" name="Isosceles Triangle 4"/>
          <p:cNvSpPr/>
          <p:nvPr/>
        </p:nvSpPr>
        <p:spPr>
          <a:xfrm>
            <a:off x="2453870" y="2162843"/>
            <a:ext cx="3793067" cy="1685257"/>
          </a:xfrm>
          <a:prstGeom prst="triangle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7" name="Group 6"/>
          <p:cNvGrpSpPr/>
          <p:nvPr/>
        </p:nvGrpSpPr>
        <p:grpSpPr>
          <a:xfrm>
            <a:off x="2453870" y="3848100"/>
            <a:ext cx="3793067" cy="2331588"/>
            <a:chOff x="2453870" y="3848100"/>
            <a:chExt cx="3793067" cy="2331588"/>
          </a:xfrm>
        </p:grpSpPr>
        <p:sp>
          <p:nvSpPr>
            <p:cNvPr id="11" name="TextBox 10"/>
            <p:cNvSpPr txBox="1"/>
            <p:nvPr/>
          </p:nvSpPr>
          <p:spPr>
            <a:xfrm>
              <a:off x="3503055" y="5533357"/>
              <a:ext cx="169469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dirty="0" smtClean="0"/>
                <a:t>Europeisk </a:t>
              </a:r>
              <a:br>
                <a:rPr lang="sv-SE" dirty="0" smtClean="0"/>
              </a:br>
              <a:r>
                <a:rPr lang="sv-SE" dirty="0" smtClean="0"/>
                <a:t>konkurrenskraft</a:t>
              </a:r>
              <a:endParaRPr lang="sv-SE" dirty="0"/>
            </a:p>
          </p:txBody>
        </p:sp>
        <p:sp>
          <p:nvSpPr>
            <p:cNvPr id="14" name="Isosceles Triangle 13"/>
            <p:cNvSpPr/>
            <p:nvPr/>
          </p:nvSpPr>
          <p:spPr>
            <a:xfrm rot="10800000">
              <a:off x="2453870" y="3848100"/>
              <a:ext cx="3793067" cy="1685257"/>
            </a:xfrm>
            <a:prstGeom prst="triangle">
              <a:avLst/>
            </a:prstGeom>
            <a:solidFill>
              <a:srgbClr val="8593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  <p:sp>
        <p:nvSpPr>
          <p:cNvPr id="8" name="Oval 7"/>
          <p:cNvSpPr/>
          <p:nvPr/>
        </p:nvSpPr>
        <p:spPr>
          <a:xfrm>
            <a:off x="3046004" y="3101140"/>
            <a:ext cx="2608799" cy="145582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Generella styrmedel</a:t>
            </a:r>
            <a:r>
              <a:rPr lang="sv-SE" dirty="0" smtClean="0"/>
              <a:t>:</a:t>
            </a:r>
          </a:p>
          <a:p>
            <a:pPr algn="ctr"/>
            <a:r>
              <a:rPr lang="sv-SE" dirty="0" smtClean="0"/>
              <a:t>ETS eller koldioxidskatt</a:t>
            </a:r>
            <a:endParaRPr lang="sv-SE" dirty="0" smtClean="0"/>
          </a:p>
        </p:txBody>
      </p:sp>
      <p:sp>
        <p:nvSpPr>
          <p:cNvPr id="37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035425" y="2103438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39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84838" y="3560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40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414588" y="3560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42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035425" y="4981575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C30C3E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</a:t>
            </a:r>
            <a:endParaRPr lang="en-GB" sz="5200" dirty="0">
              <a:solidFill>
                <a:srgbClr val="C30C3E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2914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15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4318" y="450078"/>
            <a:ext cx="8318351" cy="887413"/>
          </a:xfrm>
        </p:spPr>
        <p:txBody>
          <a:bodyPr>
            <a:normAutofit/>
          </a:bodyPr>
          <a:lstStyle/>
          <a:p>
            <a:r>
              <a:rPr lang="sv-SE" dirty="0" smtClean="0"/>
              <a:t>Politiken formas i en dragkamp mellan olika mål </a:t>
            </a:r>
            <a:br>
              <a:rPr lang="sv-SE" dirty="0" smtClean="0"/>
            </a:br>
            <a:r>
              <a:rPr lang="sv-SE" dirty="0" smtClean="0"/>
              <a:t>– som ibland står emot varandra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02-04</a:t>
            </a:fld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4004733" y="1706823"/>
            <a:ext cx="6238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iljö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604318" y="3645113"/>
            <a:ext cx="1853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Leveranssäkerhet</a:t>
            </a:r>
            <a:endParaRPr lang="sv-SE" dirty="0"/>
          </a:p>
        </p:txBody>
      </p:sp>
      <p:sp>
        <p:nvSpPr>
          <p:cNvPr id="3" name="TextBox 2"/>
          <p:cNvSpPr txBox="1"/>
          <p:nvPr/>
        </p:nvSpPr>
        <p:spPr>
          <a:xfrm>
            <a:off x="6246937" y="3644385"/>
            <a:ext cx="1210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Effektivitet</a:t>
            </a:r>
            <a:endParaRPr lang="sv-SE" dirty="0"/>
          </a:p>
        </p:txBody>
      </p:sp>
      <p:sp>
        <p:nvSpPr>
          <p:cNvPr id="5" name="Isosceles Triangle 4"/>
          <p:cNvSpPr/>
          <p:nvPr/>
        </p:nvSpPr>
        <p:spPr>
          <a:xfrm>
            <a:off x="2453870" y="2162843"/>
            <a:ext cx="3793067" cy="1685257"/>
          </a:xfrm>
          <a:prstGeom prst="triangle">
            <a:avLst/>
          </a:prstGeom>
          <a:solidFill>
            <a:srgbClr val="859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7" name="Group 6"/>
          <p:cNvGrpSpPr/>
          <p:nvPr/>
        </p:nvGrpSpPr>
        <p:grpSpPr>
          <a:xfrm>
            <a:off x="2453870" y="3848100"/>
            <a:ext cx="3793067" cy="2331588"/>
            <a:chOff x="2453870" y="3848100"/>
            <a:chExt cx="3793067" cy="2331588"/>
          </a:xfrm>
        </p:grpSpPr>
        <p:sp>
          <p:nvSpPr>
            <p:cNvPr id="11" name="TextBox 10"/>
            <p:cNvSpPr txBox="1"/>
            <p:nvPr/>
          </p:nvSpPr>
          <p:spPr>
            <a:xfrm>
              <a:off x="3503055" y="5533357"/>
              <a:ext cx="169469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dirty="0" smtClean="0"/>
                <a:t>Europeisk </a:t>
              </a:r>
              <a:br>
                <a:rPr lang="sv-SE" dirty="0" smtClean="0"/>
              </a:br>
              <a:r>
                <a:rPr lang="sv-SE" dirty="0" smtClean="0"/>
                <a:t>konkurrenskraft</a:t>
              </a:r>
              <a:endParaRPr lang="sv-SE" dirty="0"/>
            </a:p>
          </p:txBody>
        </p:sp>
        <p:sp>
          <p:nvSpPr>
            <p:cNvPr id="14" name="Isosceles Triangle 13"/>
            <p:cNvSpPr/>
            <p:nvPr/>
          </p:nvSpPr>
          <p:spPr>
            <a:xfrm rot="10800000">
              <a:off x="2453870" y="3848100"/>
              <a:ext cx="3793067" cy="1685257"/>
            </a:xfrm>
            <a:prstGeom prst="triangle">
              <a:avLst/>
            </a:prstGeom>
            <a:solidFill>
              <a:srgbClr val="8593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</p:grpSp>
      <p:sp>
        <p:nvSpPr>
          <p:cNvPr id="8" name="Oval 7"/>
          <p:cNvSpPr/>
          <p:nvPr/>
        </p:nvSpPr>
        <p:spPr>
          <a:xfrm>
            <a:off x="3046004" y="3101140"/>
            <a:ext cx="2608799" cy="145582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Subventioner till förnybar produktion</a:t>
            </a:r>
          </a:p>
        </p:txBody>
      </p:sp>
      <p:sp>
        <p:nvSpPr>
          <p:cNvPr id="37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035425" y="2103438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dirty="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39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035425" y="5041900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5200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42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46738" y="3560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dirty="0" smtClean="0">
                <a:solidFill>
                  <a:srgbClr val="C30C3E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</a:t>
            </a:r>
            <a:endParaRPr lang="en-GB" sz="5200" dirty="0">
              <a:solidFill>
                <a:srgbClr val="C30C3E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8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87613" y="3560763"/>
            <a:ext cx="601663" cy="6016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62000" indent="-16200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34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58000" indent="-162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5200" smtClean="0">
                <a:solidFill>
                  <a:srgbClr val="C30C3E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</a:t>
            </a:r>
            <a:endParaRPr lang="en-GB" sz="5200" dirty="0">
              <a:solidFill>
                <a:srgbClr val="C30C3E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9" name="TextBox 8"/>
          <p:cNvSpPr txBox="1"/>
          <p:nvPr/>
        </p:nvSpPr>
        <p:spPr>
          <a:xfrm rot="20020212">
            <a:off x="751000" y="2074216"/>
            <a:ext cx="3473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rgbClr val="8593AF"/>
                </a:solidFill>
              </a:rPr>
              <a:t>En ny marknadsdesign som kompensation för andra fel?</a:t>
            </a:r>
            <a:endParaRPr lang="sv-SE" dirty="0">
              <a:solidFill>
                <a:srgbClr val="8593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78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sv-SE" altLang="sv-SE" dirty="0"/>
              <a:t>10 påståenden om </a:t>
            </a:r>
            <a:r>
              <a:rPr lang="sv-SE" altLang="sv-SE" dirty="0"/>
              <a:t>Market Design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Den europeiska elmarknaden kommer att behöva en ny marknadsdesign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Energy-</a:t>
            </a:r>
            <a:r>
              <a:rPr lang="sv-SE" dirty="0" err="1" smtClean="0"/>
              <a:t>only</a:t>
            </a:r>
            <a:r>
              <a:rPr lang="sv-SE" dirty="0" smtClean="0"/>
              <a:t> marknaden har svårt att leverera nödvändiga investeringar i ny produktion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Valet mellan en strategisk reserv och en kapacitetsmarknad beror på hur ofta den förväntas användas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Införandet av kapacitetsmarknader kommer att leda till ökade investeringar i ny produktion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Införandet av kapacitetsmarknader kommer att leda till lägre priser på grossistmarknaden 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Kostnaden för en kapacitetsmarknad kommer att öka när nya investeringar krävs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Att inkludera utlandsförbindelser i kapacitetsmarknader är långt ifrån enkelt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Flödesbaserad kapacitetsallokering (</a:t>
            </a:r>
            <a:r>
              <a:rPr lang="sv-SE" dirty="0" err="1" smtClean="0"/>
              <a:t>flow-based</a:t>
            </a:r>
            <a:r>
              <a:rPr lang="sv-SE" dirty="0" smtClean="0"/>
              <a:t>) kommer att leda till ett mer effektivt utnyttjande av elnätet 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Nodprissättning kommer att medföra ett mer effektivt utnyttjande av elnätet, men till minskad likviditet på elmarknaden</a:t>
            </a:r>
          </a:p>
          <a:p>
            <a:pPr marL="514350" lvl="0" indent="-514350">
              <a:lnSpc>
                <a:spcPct val="120000"/>
              </a:lnSpc>
              <a:buFont typeface="+mj-lt"/>
              <a:buAutoNum type="arabicPeriod"/>
            </a:pPr>
            <a:r>
              <a:rPr lang="sv-SE" dirty="0" smtClean="0"/>
              <a:t>Europas elmarknad är på väg tillbaka mot centralplanering </a:t>
            </a:r>
            <a:endParaRPr lang="sv-SE" dirty="0"/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CDCEE-9FA8-4ACB-ADB8-903AA2FBA300}" type="slidenum">
              <a:rPr lang="sv-SE" smtClean="0"/>
              <a:pPr/>
              <a:t>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9945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9lftLkKnQM.4yhKd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6Qa.SaBUWVjeqywdSl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_8gSkTZ0qGPTpSDRkd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x1QVC8UeE2MfCnkur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wPs7ZQk0ydMi7S2uhR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rXed5BIUKiJjo2hDN8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n75L3KPESmNK_RzzCo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0itiEwVkakjYk.NymQ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FlyOLh0GdhVsfP8Ul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9BhPVbnUeuhFoH_TY8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lLSz8NE.ZDdudGV2E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nHS40YiEWz2e3M4zGp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tkJwWEKY0n3NKblB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bCGTHNik6.C7pEVu4n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5rSGp_k.0CHBXuYnL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SSoZ5yUS67Ajqrkp1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yVDBiEkOoY9q7jkZe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YJ5QSf0KAgXAIb0RY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9lftLkKnQM.4yhK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6Qa.SaBUWVjeqywdSl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_8gSkTZ0qGPTpSDRkd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x1QVC8UeE2MfCnkur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wPs7ZQk0ydMi7S2uhR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rXed5BIUKiJjo2hDN8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n75L3KPESmNK_RzzCo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0itiEwVkakjYk.NymQ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FlyOLh0GdhVsfP8Ul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9BhPVbnUeuhFoH_TY8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lLSz8NE.ZDdudGV2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nHS40YiEWz2e3M4zGp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tkJwWEKY0n3NKblB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bCGTHNik6.C7pEVu4n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5rSGp_k.0CHBXuYnL0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SSoZ5yUS67Ajqrkp1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yVDBiEkOoY9q7jkZe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YJ5QSf0KAgXAIb0RY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9lftLkKnQM.4yhKd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6Qa.SaBUWVjeqywdSl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_8gSkTZ0qGPTpSDRkd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x1QVC8UeE2MfCnkur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wPs7ZQk0ydMi7S2uhR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rXed5BIUKiJjo2hDN8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n75L3KPESmNK_RzzCo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0itiEwVkakjYk.NymQ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GFlyOLh0GdhVsfP8Ul9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9BhPVbnUeuhFoH_TY80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lLSz8NE.ZDdudGV2E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nHS40YiEWz2e3M4zGp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yVDBiEkOoY9q7jkZem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otkJwWEKY0n3NKblB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bCGTHNik6.C7pEVu4n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5rSGp_k.0CHBXuYnL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ESSoZ5yUS67Ajqrkp1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W2dt9BC0mj286MDXTT9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v_hWFMS0.56Q3TdRxD8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KfQEGfWEa7YrjfrIZmz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ke2qXj0.v_AmNMfaO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3gP4fZbE.KQmgCmYN.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l5wthn70C2IPQZfjJ0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qrJO7LkKNWKn9mLWc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WB.2_EJUqLTRJ_joA3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xQHNd1mkyWFneWOyk5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3Tr..W7kCtnXS2pw5x9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1hyhD6GU6wnkwRda.K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x7Ve1Fk6Ag0TJQNApL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Xf8xl.ZUOP8bkIGVMz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PGGgS6AUCsIMdfRf5b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yVDBiEkOoY9q7jkZem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n_4YOrlEqd8Fn6U10c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o430mUg0uBL3vxmv4Z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Xf8xl.ZUOP8bkIGVMz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PGGgS6AUCsIMdfRf5bU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o430mUg0uBL3vxmv4ZO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US6qLnUeks9.N59W1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4AX_g8UebBdwLeqw0.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slRUKYk06ZZ4EtubTW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YJ5QSf0KAgXAIb0RY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OIWPwE0Cs.v3Dh.7N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8ofV9IYkeq7myBw8gxug"/>
</p:tagLst>
</file>

<file path=ppt/theme/theme1.xml><?xml version="1.0" encoding="utf-8"?>
<a:theme xmlns:a="http://schemas.openxmlformats.org/drawingml/2006/main" name="Office-tema">
  <a:themeElements>
    <a:clrScheme name="Sweco">
      <a:dk1>
        <a:srgbClr val="3F3F42"/>
      </a:dk1>
      <a:lt1>
        <a:srgbClr val="FFFFFF"/>
      </a:lt1>
      <a:dk2>
        <a:srgbClr val="3F3F42"/>
      </a:dk2>
      <a:lt2>
        <a:srgbClr val="E2E0DA"/>
      </a:lt2>
      <a:accent1>
        <a:srgbClr val="A48730"/>
      </a:accent1>
      <a:accent2>
        <a:srgbClr val="8593AF"/>
      </a:accent2>
      <a:accent3>
        <a:srgbClr val="B484A2"/>
      </a:accent3>
      <a:accent4>
        <a:srgbClr val="3F3F42"/>
      </a:accent4>
      <a:accent5>
        <a:srgbClr val="DEC55B"/>
      </a:accent5>
      <a:accent6>
        <a:srgbClr val="A4A4A6"/>
      </a:accent6>
      <a:hlink>
        <a:srgbClr val="A4A4A6"/>
      </a:hlink>
      <a:folHlink>
        <a:srgbClr val="F2B1DC"/>
      </a:folHlink>
    </a:clrScheme>
    <a:fontScheme name="Sweco">
      <a:majorFont>
        <a:latin typeface="Sweco Sans Medium"/>
        <a:ea typeface=""/>
        <a:cs typeface=""/>
      </a:majorFont>
      <a:minorFont>
        <a:latin typeface="Swec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Muted1">
      <a:srgbClr val="A48730"/>
    </a:custClr>
    <a:custClr name="Muted2">
      <a:srgbClr val="8593AF"/>
    </a:custClr>
    <a:custClr name="Muted3">
      <a:srgbClr val="B484A2"/>
    </a:custClr>
    <a:custClr name="Bright1">
      <a:srgbClr val="DEC55B"/>
    </a:custClr>
    <a:custClr name="Bright2">
      <a:srgbClr val="C0D4FD"/>
    </a:custClr>
    <a:custClr name="Bright3">
      <a:srgbClr val="F2B1DC"/>
    </a:custClr>
    <a:custClr name="Grey1">
      <a:srgbClr val="E2E0DA"/>
    </a:custClr>
    <a:custClr name="Grey2">
      <a:srgbClr val="A4A4A6"/>
    </a:custClr>
    <a:custClr name="Grey3">
      <a:srgbClr val="3F3F42"/>
    </a:custClr>
  </a:custClrLst>
  <a:extLst>
    <a:ext uri="{05A4C25C-085E-4340-85A3-A5531E510DB2}">
      <thm15:themeFamily xmlns:thm15="http://schemas.microsoft.com/office/thememl/2012/main" name="Mallförslag 4_3 #3" id="{2CD191F5-109F-49D6-A793-AFE0FDDCFDCD}" vid="{62FE40A0-86B5-4D92-B6EE-FF6F1917F837}"/>
    </a:ext>
  </a:extLst>
</a:theme>
</file>

<file path=ppt/theme/theme2.xml><?xml version="1.0" encoding="utf-8"?>
<a:theme xmlns:a="http://schemas.openxmlformats.org/drawingml/2006/main" name="Office-tema">
  <a:themeElements>
    <a:clrScheme name="Sweco">
      <a:dk1>
        <a:srgbClr val="3F3F42"/>
      </a:dk1>
      <a:lt1>
        <a:srgbClr val="FFFFFF"/>
      </a:lt1>
      <a:dk2>
        <a:srgbClr val="3F3F42"/>
      </a:dk2>
      <a:lt2>
        <a:srgbClr val="E2E0DA"/>
      </a:lt2>
      <a:accent1>
        <a:srgbClr val="A48730"/>
      </a:accent1>
      <a:accent2>
        <a:srgbClr val="8593AF"/>
      </a:accent2>
      <a:accent3>
        <a:srgbClr val="B484A2"/>
      </a:accent3>
      <a:accent4>
        <a:srgbClr val="3F3F42"/>
      </a:accent4>
      <a:accent5>
        <a:srgbClr val="DEC55B"/>
      </a:accent5>
      <a:accent6>
        <a:srgbClr val="A4A4A6"/>
      </a:accent6>
      <a:hlink>
        <a:srgbClr val="A4A4A6"/>
      </a:hlink>
      <a:folHlink>
        <a:srgbClr val="F2B1DC"/>
      </a:folHlink>
    </a:clrScheme>
    <a:fontScheme name="Sweco">
      <a:majorFont>
        <a:latin typeface="Sweco Sans Medium"/>
        <a:ea typeface=""/>
        <a:cs typeface=""/>
      </a:majorFont>
      <a:minorFont>
        <a:latin typeface="Swec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Sweco">
      <a:dk1>
        <a:srgbClr val="3F3F42"/>
      </a:dk1>
      <a:lt1>
        <a:srgbClr val="FFFFFF"/>
      </a:lt1>
      <a:dk2>
        <a:srgbClr val="3F3F42"/>
      </a:dk2>
      <a:lt2>
        <a:srgbClr val="E2E0DA"/>
      </a:lt2>
      <a:accent1>
        <a:srgbClr val="A48730"/>
      </a:accent1>
      <a:accent2>
        <a:srgbClr val="8593AF"/>
      </a:accent2>
      <a:accent3>
        <a:srgbClr val="B484A2"/>
      </a:accent3>
      <a:accent4>
        <a:srgbClr val="3F3F42"/>
      </a:accent4>
      <a:accent5>
        <a:srgbClr val="DEC55B"/>
      </a:accent5>
      <a:accent6>
        <a:srgbClr val="A4A4A6"/>
      </a:accent6>
      <a:hlink>
        <a:srgbClr val="A4A4A6"/>
      </a:hlink>
      <a:folHlink>
        <a:srgbClr val="F2B1DC"/>
      </a:folHlink>
    </a:clrScheme>
    <a:fontScheme name="Sweco">
      <a:majorFont>
        <a:latin typeface="Sweco Sans Medium"/>
        <a:ea typeface=""/>
        <a:cs typeface=""/>
      </a:majorFont>
      <a:minorFont>
        <a:latin typeface="Swec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0</TotalTime>
  <Words>563</Words>
  <Application>Microsoft Office PowerPoint</Application>
  <PresentationFormat>On-screen Show (4:3)</PresentationFormat>
  <Paragraphs>187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Sweco Sans</vt:lpstr>
      <vt:lpstr>Sweco Sans Medium</vt:lpstr>
      <vt:lpstr>Arial</vt:lpstr>
      <vt:lpstr>Wingdings</vt:lpstr>
      <vt:lpstr>Office-tema</vt:lpstr>
      <vt:lpstr>think-cell Slide</vt:lpstr>
      <vt:lpstr>Microsoft Graph Chart</vt:lpstr>
      <vt:lpstr>Chart</vt:lpstr>
      <vt:lpstr>Elmarknaden vid ett vägskäl  - mer politik eller mer marknad?  Niclas Damsgaard, Sweco</vt:lpstr>
      <vt:lpstr>Drivkrafter för en ny marknadsdesign</vt:lpstr>
      <vt:lpstr>Drivkrafter för en ny marknadsdesign</vt:lpstr>
      <vt:lpstr>Drivkrafter för en ny marknadsdesign</vt:lpstr>
      <vt:lpstr>Drivkrafter för en ny marknadsdesign</vt:lpstr>
      <vt:lpstr>Politiken formas i en dragkamp mellan olika mål  – som ibland står emot varandra</vt:lpstr>
      <vt:lpstr>Politiken formas i en dragkamp mellan olika mål  – som ibland står emot varandra</vt:lpstr>
      <vt:lpstr>Politiken formas i en dragkamp mellan olika mål  – som ibland står emot varandra</vt:lpstr>
      <vt:lpstr>10 påståenden om Market Design</vt:lpstr>
      <vt:lpstr>Men är det bara subventionerna som är problemet? Energy-only marknaden har svårt att leverera nödvändiga investeringar i ny produktion (?) </vt:lpstr>
      <vt:lpstr>Många alternativa lösningar  – vart kommer Europa att gå?</vt:lpstr>
      <vt:lpstr>PowerPoint Presentation</vt:lpstr>
      <vt:lpstr>Marknad </vt:lpstr>
    </vt:vector>
  </TitlesOfParts>
  <Company>Sweco Energuide A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use</dc:title>
  <dc:creator>Niclas Damsgaard</dc:creator>
  <cp:lastModifiedBy>Damsgaard Niclas</cp:lastModifiedBy>
  <cp:revision>53</cp:revision>
  <dcterms:created xsi:type="dcterms:W3CDTF">2015-11-23T14:36:16Z</dcterms:created>
  <dcterms:modified xsi:type="dcterms:W3CDTF">2016-02-04T19:5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weco_Language">
    <vt:lpwstr>SV</vt:lpwstr>
  </property>
  <property fmtid="{D5CDD505-2E9C-101B-9397-08002B2CF9AE}" pid="3" name="Sweco_CompanyNo">
    <vt:lpwstr>150</vt:lpwstr>
  </property>
  <property fmtid="{D5CDD505-2E9C-101B-9397-08002B2CF9AE}" pid="4" name="Sweco_TemplateFileName">
    <vt:lpwstr>\Global\oh04e.pptx</vt:lpwstr>
  </property>
</Properties>
</file>